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theme/theme2.xml" ContentType="application/vnd.openxmlformats-officedocument.theme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theme/theme3.xml" ContentType="application/vnd.openxmlformats-officedocument.theme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theme/theme6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theme/theme7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theme/theme8.xml" ContentType="application/vnd.openxmlformats-officedocument.theme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theme/theme9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omments/modernComment_3DE_A3F01FC8.xml" ContentType="application/vnd.ms-powerpoint.comments+xml"/>
  <Override PartName="/ppt/comments/modernComment_3D0_AD7B0CD0.xml" ContentType="application/vnd.ms-powerpoint.comment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011" r:id="rId3"/>
    <p:sldMasterId id="2147484375" r:id="rId4"/>
    <p:sldMasterId id="2147483708" r:id="rId5"/>
    <p:sldMasterId id="2147484591" r:id="rId6"/>
    <p:sldMasterId id="2147484612" r:id="rId7"/>
    <p:sldMasterId id="2147484625" r:id="rId8"/>
    <p:sldMasterId id="2147484654" r:id="rId9"/>
    <p:sldMasterId id="2147484939" r:id="rId10"/>
    <p:sldMasterId id="2147485012" r:id="rId11"/>
  </p:sldMasterIdLst>
  <p:notesMasterIdLst>
    <p:notesMasterId r:id="rId43"/>
  </p:notesMasterIdLst>
  <p:sldIdLst>
    <p:sldId id="257" r:id="rId12"/>
    <p:sldId id="646" r:id="rId13"/>
    <p:sldId id="989" r:id="rId14"/>
    <p:sldId id="986" r:id="rId15"/>
    <p:sldId id="985" r:id="rId16"/>
    <p:sldId id="984" r:id="rId17"/>
    <p:sldId id="983" r:id="rId18"/>
    <p:sldId id="982" r:id="rId19"/>
    <p:sldId id="995" r:id="rId20"/>
    <p:sldId id="994" r:id="rId21"/>
    <p:sldId id="993" r:id="rId22"/>
    <p:sldId id="992" r:id="rId23"/>
    <p:sldId id="991" r:id="rId24"/>
    <p:sldId id="990" r:id="rId25"/>
    <p:sldId id="981" r:id="rId26"/>
    <p:sldId id="980" r:id="rId27"/>
    <p:sldId id="979" r:id="rId28"/>
    <p:sldId id="978" r:id="rId29"/>
    <p:sldId id="977" r:id="rId30"/>
    <p:sldId id="976" r:id="rId31"/>
    <p:sldId id="975" r:id="rId32"/>
    <p:sldId id="998" r:id="rId33"/>
    <p:sldId id="999" r:id="rId34"/>
    <p:sldId id="974" r:id="rId35"/>
    <p:sldId id="1000" r:id="rId36"/>
    <p:sldId id="973" r:id="rId37"/>
    <p:sldId id="972" r:id="rId38"/>
    <p:sldId id="997" r:id="rId39"/>
    <p:sldId id="729" r:id="rId40"/>
    <p:sldId id="996" r:id="rId41"/>
    <p:sldId id="474" r:id="rId4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  <p188:author id="{FCF8223C-610E-2BBA-F33B-0E1F55F6BB33}" name="Patricia Ann Lee King" initials="PK" userId="S::pal094@ads.northwestern.edu::dbab7ec2-5444-4d21-afe7-a39974533ddc" providerId="AD"/>
  <p188:author id="{0B48CC40-4357-5959-C41E-8F630855A478}" name="Aleena Lida Surenian" initials="AS" userId="S::als0813@ads.northwestern.edu::e2fd0e4e-6417-49b0-ab16-0ba26a1719f0" providerId="AD"/>
  <p188:author id="{B1E8E1CE-C373-4BDB-0D3F-F84FE1DA86D4}" name="Eileen Fleming Suse" initials="ES" userId="S::efs3844@ads.northwestern.edu::725c94ef-d051-42d7-9d33-8572765d592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99FF"/>
    <a:srgbClr val="ED7373"/>
    <a:srgbClr val="B9B9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34" autoAdjust="0"/>
    <p:restoredTop sz="78920" autoAdjust="0"/>
  </p:normalViewPr>
  <p:slideViewPr>
    <p:cSldViewPr snapToGrid="0">
      <p:cViewPr varScale="1">
        <p:scale>
          <a:sx n="50" d="100"/>
          <a:sy n="50" d="100"/>
        </p:scale>
        <p:origin x="1292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914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6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5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slide" Target="slides/slide3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Master" Target="slideMasters/slideMaster9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microsoft.com/office/2018/10/relationships/authors" Target="authors.xml"/><Relationship Id="rId10" Type="http://schemas.openxmlformats.org/officeDocument/2006/relationships/slideMaster" Target="slideMasters/slideMaster8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2.xml"/><Relationship Id="rId9" Type="http://schemas.openxmlformats.org/officeDocument/2006/relationships/slideMaster" Target="slideMasters/slideMaster7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 of Hospitals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Individual Fallout review of NTSV C-Sections</c:v>
                </c:pt>
                <c:pt idx="1">
                  <c:v>Cesarean Decision Checklist</c:v>
                </c:pt>
                <c:pt idx="2">
                  <c:v>Cesarean Decision huddles/debriefs</c:v>
                </c:pt>
                <c:pt idx="3">
                  <c:v>Recognition for successful NTSV C-Sections </c:v>
                </c:pt>
                <c:pt idx="4">
                  <c:v>Identification of NTSV Patients</c:v>
                </c:pt>
                <c:pt idx="5">
                  <c:v>Labor Management Strategies</c:v>
                </c:pt>
                <c:pt idx="6">
                  <c:v>Sharing Unblinded Provider-Level NTSV C-Section Rates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52380952380952384</c:v>
                </c:pt>
                <c:pt idx="1">
                  <c:v>0.7142857142857143</c:v>
                </c:pt>
                <c:pt idx="2">
                  <c:v>0.73809523809523814</c:v>
                </c:pt>
                <c:pt idx="3">
                  <c:v>0.83333333333333337</c:v>
                </c:pt>
                <c:pt idx="4">
                  <c:v>0.88095238095238093</c:v>
                </c:pt>
                <c:pt idx="5">
                  <c:v>0.88095238095238093</c:v>
                </c:pt>
                <c:pt idx="6">
                  <c:v>0.92857142857142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A8-4797-B762-75518B94AC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296518048"/>
        <c:axId val="1296499744"/>
      </c:barChart>
      <c:catAx>
        <c:axId val="1296518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6499744"/>
        <c:crosses val="autoZero"/>
        <c:auto val="1"/>
        <c:lblAlgn val="ctr"/>
        <c:lblOffset val="100"/>
        <c:noMultiLvlLbl val="0"/>
      </c:catAx>
      <c:valAx>
        <c:axId val="129649974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965180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3D0_AD7B0CD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AB8CEC4-B397-42D0-9CB3-63603BD64717}" authorId="{E5FBE01E-7B92-B9C0-0995-5C3FE74E91A1}" status="resolved" created="2023-10-27T21:08:14.667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272606415" sldId="503"/>
      <ac:picMk id="71" creationId="{AD014517-6DF1-4AA8-9423-7ADA494033A8}"/>
    </ac:deMkLst>
    <p188:txBody>
      <a:bodyPr/>
      <a:lstStyle/>
      <a:p>
        <a:r>
          <a:rPr lang="en-US"/>
          <a:t>[@Eileen Fleming Suse] fix the legend </a:t>
        </a:r>
      </a:p>
    </p188:txBody>
  </p188:cm>
</p188:cmLst>
</file>

<file path=ppt/comments/modernComment_3DE_A3F01FC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589F91F-3018-4A98-A819-BF5AD1F73BC2}" authorId="{0B48CC40-4357-5959-C41E-8F630855A478}" status="resolved" created="2023-10-16T16:35:40.490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4091857155" sldId="714"/>
      <ac:spMk id="2" creationId="{5D87CFE8-3919-ED15-8CAA-3861B7D5540C}"/>
    </ac:deMkLst>
    <p188:replyLst>
      <p188:reply id="{04417290-F3BA-4503-A11C-E6446F0B6F31}" authorId="{0B48CC40-4357-5959-C41E-8F630855A478}" created="2023-10-16T16:40:27.140">
        <p188:txBody>
          <a:bodyPr/>
          <a:lstStyle/>
          <a:p>
            <a:r>
              <a:rPr lang="en-US"/>
              <a:t>add note that says flyer available in folder</a:t>
            </a:r>
          </a:p>
        </p188:txBody>
      </p188:reply>
    </p188:replyLst>
    <p188:txBody>
      <a:bodyPr/>
      <a:lstStyle/>
      <a:p>
        <a:r>
          <a:rPr lang="en-US"/>
          <a:t>add hispanic data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2FCE99D-BEEB-426C-A417-2ACF4B71374A}" type="doc">
      <dgm:prSet loTypeId="urn:microsoft.com/office/officeart/2005/8/layout/default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9DCCF427-DADF-494B-8B89-36304492DCAF}">
      <dgm:prSet phldr="0"/>
      <dgm:spPr/>
      <dgm:t>
        <a:bodyPr/>
        <a:lstStyle/>
        <a:p>
          <a:pPr algn="l" rtl="0"/>
          <a:r>
            <a:rPr lang="en-US">
              <a:latin typeface="Calibri" panose="020F0502020204030204"/>
            </a:rPr>
            <a:t>Decreased hospital’s NTSV Cesarean Section Rate</a:t>
          </a:r>
        </a:p>
      </dgm:t>
    </dgm:pt>
    <dgm:pt modelId="{C34F083B-28BA-4BCE-A7E2-1A86EBE193F8}" type="parTrans" cxnId="{35C3D7E6-C4ED-4C9F-B730-841CF6D4FDB4}">
      <dgm:prSet/>
      <dgm:spPr/>
    </dgm:pt>
    <dgm:pt modelId="{AB7381C3-720C-4971-B7AF-38B3E98AD9AC}" type="sibTrans" cxnId="{35C3D7E6-C4ED-4C9F-B730-841CF6D4FDB4}">
      <dgm:prSet/>
      <dgm:spPr/>
    </dgm:pt>
    <dgm:pt modelId="{80291FC2-9BE3-485F-BBEA-BD4E989DFFFE}">
      <dgm:prSet phldr="0"/>
      <dgm:spPr/>
      <dgm:t>
        <a:bodyPr/>
        <a:lstStyle/>
        <a:p>
          <a:pPr algn="l" rtl="0"/>
          <a:r>
            <a:rPr lang="en-US">
              <a:latin typeface="Calibri" panose="020F0502020204030204"/>
            </a:rPr>
            <a:t>Staff Education and Engagement</a:t>
          </a:r>
        </a:p>
      </dgm:t>
    </dgm:pt>
    <dgm:pt modelId="{CC1EF2E2-5938-4236-BC53-628DD90F28BE}" type="parTrans" cxnId="{E5FB46ED-5EA2-431D-86B1-2F17309EFE1E}">
      <dgm:prSet/>
      <dgm:spPr/>
    </dgm:pt>
    <dgm:pt modelId="{FFF5B0A1-8F34-4326-BB61-6DD9F53364D4}" type="sibTrans" cxnId="{E5FB46ED-5EA2-431D-86B1-2F17309EFE1E}">
      <dgm:prSet/>
      <dgm:spPr/>
    </dgm:pt>
    <dgm:pt modelId="{5C8B53A2-10CE-4248-B324-2C776A6E278C}">
      <dgm:prSet phldr="0"/>
      <dgm:spPr/>
      <dgm:t>
        <a:bodyPr/>
        <a:lstStyle/>
        <a:p>
          <a:pPr algn="l"/>
          <a:r>
            <a:rPr lang="en-US">
              <a:latin typeface="Calibri" panose="020F0502020204030204"/>
            </a:rPr>
            <a:t>Utilized Spinning Babies</a:t>
          </a:r>
        </a:p>
      </dgm:t>
    </dgm:pt>
    <dgm:pt modelId="{2FFD89CB-944C-41A5-AC79-114C3BDA39AE}" type="parTrans" cxnId="{C95AB528-2F51-48EE-A8A1-2B1D3E7A5986}">
      <dgm:prSet/>
      <dgm:spPr/>
    </dgm:pt>
    <dgm:pt modelId="{CA662D2D-260E-45D2-8B44-893E62FEA887}" type="sibTrans" cxnId="{C95AB528-2F51-48EE-A8A1-2B1D3E7A5986}">
      <dgm:prSet/>
      <dgm:spPr/>
    </dgm:pt>
    <dgm:pt modelId="{E49F7347-47E2-4F8E-A846-9127F8381170}">
      <dgm:prSet phldr="0"/>
      <dgm:spPr/>
      <dgm:t>
        <a:bodyPr/>
        <a:lstStyle/>
        <a:p>
          <a:pPr algn="l"/>
          <a:r>
            <a:rPr lang="en-US">
              <a:latin typeface="Calibri" panose="020F0502020204030204"/>
            </a:rPr>
            <a:t>Partnership between Providers and Nurses</a:t>
          </a:r>
        </a:p>
      </dgm:t>
    </dgm:pt>
    <dgm:pt modelId="{4A2CBE30-AA46-4290-9095-FC9BC2BABB7D}" type="parTrans" cxnId="{DAA5BA0D-6E02-43F0-820A-BAB9C35CDC69}">
      <dgm:prSet/>
      <dgm:spPr/>
    </dgm:pt>
    <dgm:pt modelId="{B7B55E07-5B6C-40BD-A440-6C77AB51E8A6}" type="sibTrans" cxnId="{DAA5BA0D-6E02-43F0-820A-BAB9C35CDC69}">
      <dgm:prSet/>
      <dgm:spPr/>
    </dgm:pt>
    <dgm:pt modelId="{8D21BE96-DC19-42E8-90F4-78A2DFA2C495}">
      <dgm:prSet phldr="0"/>
      <dgm:spPr/>
      <dgm:t>
        <a:bodyPr/>
        <a:lstStyle/>
        <a:p>
          <a:pPr algn="l"/>
          <a:r>
            <a:rPr lang="en-US">
              <a:latin typeface="Calibri" panose="020F0502020204030204"/>
            </a:rPr>
            <a:t>Reward and Recognize Providers and Nurses</a:t>
          </a:r>
        </a:p>
      </dgm:t>
    </dgm:pt>
    <dgm:pt modelId="{A28BA1CD-0B73-4441-8198-1F3EB7AA1818}" type="parTrans" cxnId="{291FAEDB-EE16-4832-A107-B65BD7A89725}">
      <dgm:prSet/>
      <dgm:spPr/>
    </dgm:pt>
    <dgm:pt modelId="{A90E006A-61A5-4C79-8866-CD3925FE4191}" type="sibTrans" cxnId="{291FAEDB-EE16-4832-A107-B65BD7A89725}">
      <dgm:prSet/>
      <dgm:spPr/>
    </dgm:pt>
    <dgm:pt modelId="{0FCEC222-E5A0-4636-8FBC-23673FD83127}">
      <dgm:prSet phldr="0"/>
      <dgm:spPr/>
      <dgm:t>
        <a:bodyPr/>
        <a:lstStyle/>
        <a:p>
          <a:pPr algn="l"/>
          <a:r>
            <a:rPr lang="en-US">
              <a:latin typeface="Calibri" panose="020F0502020204030204"/>
            </a:rPr>
            <a:t>Shared Unblinded Provider Data</a:t>
          </a:r>
        </a:p>
      </dgm:t>
    </dgm:pt>
    <dgm:pt modelId="{491D036C-8645-4E63-8A0B-8E5BBEF538B3}" type="parTrans" cxnId="{A5049E64-8618-4E45-B5EF-BCD8B610A259}">
      <dgm:prSet/>
      <dgm:spPr/>
    </dgm:pt>
    <dgm:pt modelId="{95E1626F-D99F-4482-8861-616B2D5A1E74}" type="sibTrans" cxnId="{A5049E64-8618-4E45-B5EF-BCD8B610A259}">
      <dgm:prSet/>
      <dgm:spPr/>
    </dgm:pt>
    <dgm:pt modelId="{33ED0134-F0A2-40D7-B58F-03FB7D090D7D}" type="pres">
      <dgm:prSet presAssocID="{32FCE99D-BEEB-426C-A417-2ACF4B71374A}" presName="diagram" presStyleCnt="0">
        <dgm:presLayoutVars>
          <dgm:dir/>
          <dgm:resizeHandles val="exact"/>
        </dgm:presLayoutVars>
      </dgm:prSet>
      <dgm:spPr/>
    </dgm:pt>
    <dgm:pt modelId="{E0D7FDBB-94A5-4C1F-AA27-4C5896F11B1F}" type="pres">
      <dgm:prSet presAssocID="{9DCCF427-DADF-494B-8B89-36304492DCAF}" presName="node" presStyleLbl="node1" presStyleIdx="0" presStyleCnt="6">
        <dgm:presLayoutVars>
          <dgm:bulletEnabled val="1"/>
        </dgm:presLayoutVars>
      </dgm:prSet>
      <dgm:spPr/>
    </dgm:pt>
    <dgm:pt modelId="{26F87059-AE19-40B0-B7CA-0FF0A1621009}" type="pres">
      <dgm:prSet presAssocID="{AB7381C3-720C-4971-B7AF-38B3E98AD9AC}" presName="sibTrans" presStyleCnt="0"/>
      <dgm:spPr/>
    </dgm:pt>
    <dgm:pt modelId="{06891233-DDC8-40FF-9BB8-3A848023A124}" type="pres">
      <dgm:prSet presAssocID="{80291FC2-9BE3-485F-BBEA-BD4E989DFFFE}" presName="node" presStyleLbl="node1" presStyleIdx="1" presStyleCnt="6">
        <dgm:presLayoutVars>
          <dgm:bulletEnabled val="1"/>
        </dgm:presLayoutVars>
      </dgm:prSet>
      <dgm:spPr/>
    </dgm:pt>
    <dgm:pt modelId="{3E54F108-E0E5-4B09-B4F0-B1D6D1264D98}" type="pres">
      <dgm:prSet presAssocID="{FFF5B0A1-8F34-4326-BB61-6DD9F53364D4}" presName="sibTrans" presStyleCnt="0"/>
      <dgm:spPr/>
    </dgm:pt>
    <dgm:pt modelId="{8BD081A0-59CC-47C3-A8A5-D1A508C66BFA}" type="pres">
      <dgm:prSet presAssocID="{5C8B53A2-10CE-4248-B324-2C776A6E278C}" presName="node" presStyleLbl="node1" presStyleIdx="2" presStyleCnt="6">
        <dgm:presLayoutVars>
          <dgm:bulletEnabled val="1"/>
        </dgm:presLayoutVars>
      </dgm:prSet>
      <dgm:spPr/>
    </dgm:pt>
    <dgm:pt modelId="{4D466B0B-E867-4C7F-9210-A1B0783B5F39}" type="pres">
      <dgm:prSet presAssocID="{CA662D2D-260E-45D2-8B44-893E62FEA887}" presName="sibTrans" presStyleCnt="0"/>
      <dgm:spPr/>
    </dgm:pt>
    <dgm:pt modelId="{17D7B5B2-BD68-4DD2-AEF6-5553AF1D3781}" type="pres">
      <dgm:prSet presAssocID="{E49F7347-47E2-4F8E-A846-9127F8381170}" presName="node" presStyleLbl="node1" presStyleIdx="3" presStyleCnt="6">
        <dgm:presLayoutVars>
          <dgm:bulletEnabled val="1"/>
        </dgm:presLayoutVars>
      </dgm:prSet>
      <dgm:spPr/>
    </dgm:pt>
    <dgm:pt modelId="{8067A59D-1C20-4F6E-89E6-0B371EB74087}" type="pres">
      <dgm:prSet presAssocID="{B7B55E07-5B6C-40BD-A440-6C77AB51E8A6}" presName="sibTrans" presStyleCnt="0"/>
      <dgm:spPr/>
    </dgm:pt>
    <dgm:pt modelId="{6E18E0A5-FCBC-4732-9641-0CEF3CFDFAC3}" type="pres">
      <dgm:prSet presAssocID="{8D21BE96-DC19-42E8-90F4-78A2DFA2C495}" presName="node" presStyleLbl="node1" presStyleIdx="4" presStyleCnt="6">
        <dgm:presLayoutVars>
          <dgm:bulletEnabled val="1"/>
        </dgm:presLayoutVars>
      </dgm:prSet>
      <dgm:spPr/>
    </dgm:pt>
    <dgm:pt modelId="{CF14098F-60D4-4C28-837D-1E803C67A5BA}" type="pres">
      <dgm:prSet presAssocID="{A90E006A-61A5-4C79-8866-CD3925FE4191}" presName="sibTrans" presStyleCnt="0"/>
      <dgm:spPr/>
    </dgm:pt>
    <dgm:pt modelId="{F1E388E0-2DC2-40A6-B7E5-2A62284561C5}" type="pres">
      <dgm:prSet presAssocID="{0FCEC222-E5A0-4636-8FBC-23673FD83127}" presName="node" presStyleLbl="node1" presStyleIdx="5" presStyleCnt="6">
        <dgm:presLayoutVars>
          <dgm:bulletEnabled val="1"/>
        </dgm:presLayoutVars>
      </dgm:prSet>
      <dgm:spPr/>
    </dgm:pt>
  </dgm:ptLst>
  <dgm:cxnLst>
    <dgm:cxn modelId="{DAA5BA0D-6E02-43F0-820A-BAB9C35CDC69}" srcId="{32FCE99D-BEEB-426C-A417-2ACF4B71374A}" destId="{E49F7347-47E2-4F8E-A846-9127F8381170}" srcOrd="3" destOrd="0" parTransId="{4A2CBE30-AA46-4290-9095-FC9BC2BABB7D}" sibTransId="{B7B55E07-5B6C-40BD-A440-6C77AB51E8A6}"/>
    <dgm:cxn modelId="{AB4D2B1D-DD42-4D7B-9601-96C2CCF3E460}" type="presOf" srcId="{9DCCF427-DADF-494B-8B89-36304492DCAF}" destId="{E0D7FDBB-94A5-4C1F-AA27-4C5896F11B1F}" srcOrd="0" destOrd="0" presId="urn:microsoft.com/office/officeart/2005/8/layout/default"/>
    <dgm:cxn modelId="{C95AB528-2F51-48EE-A8A1-2B1D3E7A5986}" srcId="{32FCE99D-BEEB-426C-A417-2ACF4B71374A}" destId="{5C8B53A2-10CE-4248-B324-2C776A6E278C}" srcOrd="2" destOrd="0" parTransId="{2FFD89CB-944C-41A5-AC79-114C3BDA39AE}" sibTransId="{CA662D2D-260E-45D2-8B44-893E62FEA887}"/>
    <dgm:cxn modelId="{14B7832B-D2D3-444D-B7DF-E87AAF3D923A}" type="presOf" srcId="{0FCEC222-E5A0-4636-8FBC-23673FD83127}" destId="{F1E388E0-2DC2-40A6-B7E5-2A62284561C5}" srcOrd="0" destOrd="0" presId="urn:microsoft.com/office/officeart/2005/8/layout/default"/>
    <dgm:cxn modelId="{A5049E64-8618-4E45-B5EF-BCD8B610A259}" srcId="{32FCE99D-BEEB-426C-A417-2ACF4B71374A}" destId="{0FCEC222-E5A0-4636-8FBC-23673FD83127}" srcOrd="5" destOrd="0" parTransId="{491D036C-8645-4E63-8A0B-8E5BBEF538B3}" sibTransId="{95E1626F-D99F-4482-8861-616B2D5A1E74}"/>
    <dgm:cxn modelId="{82714B90-4FF8-4DF6-BDE2-82F2AFE3D0E9}" type="presOf" srcId="{E49F7347-47E2-4F8E-A846-9127F8381170}" destId="{17D7B5B2-BD68-4DD2-AEF6-5553AF1D3781}" srcOrd="0" destOrd="0" presId="urn:microsoft.com/office/officeart/2005/8/layout/default"/>
    <dgm:cxn modelId="{ACB4C7AC-2452-426A-9E06-39EC9B56A754}" type="presOf" srcId="{8D21BE96-DC19-42E8-90F4-78A2DFA2C495}" destId="{6E18E0A5-FCBC-4732-9641-0CEF3CFDFAC3}" srcOrd="0" destOrd="0" presId="urn:microsoft.com/office/officeart/2005/8/layout/default"/>
    <dgm:cxn modelId="{66A0A5AD-4B64-4436-B0C9-6A2A8C101B88}" type="presOf" srcId="{5C8B53A2-10CE-4248-B324-2C776A6E278C}" destId="{8BD081A0-59CC-47C3-A8A5-D1A508C66BFA}" srcOrd="0" destOrd="0" presId="urn:microsoft.com/office/officeart/2005/8/layout/default"/>
    <dgm:cxn modelId="{291FAEDB-EE16-4832-A107-B65BD7A89725}" srcId="{32FCE99D-BEEB-426C-A417-2ACF4B71374A}" destId="{8D21BE96-DC19-42E8-90F4-78A2DFA2C495}" srcOrd="4" destOrd="0" parTransId="{A28BA1CD-0B73-4441-8198-1F3EB7AA1818}" sibTransId="{A90E006A-61A5-4C79-8866-CD3925FE4191}"/>
    <dgm:cxn modelId="{704017E5-8346-48E3-BBCD-601ECF70D3B3}" type="presOf" srcId="{80291FC2-9BE3-485F-BBEA-BD4E989DFFFE}" destId="{06891233-DDC8-40FF-9BB8-3A848023A124}" srcOrd="0" destOrd="0" presId="urn:microsoft.com/office/officeart/2005/8/layout/default"/>
    <dgm:cxn modelId="{35C3D7E6-C4ED-4C9F-B730-841CF6D4FDB4}" srcId="{32FCE99D-BEEB-426C-A417-2ACF4B71374A}" destId="{9DCCF427-DADF-494B-8B89-36304492DCAF}" srcOrd="0" destOrd="0" parTransId="{C34F083B-28BA-4BCE-A7E2-1A86EBE193F8}" sibTransId="{AB7381C3-720C-4971-B7AF-38B3E98AD9AC}"/>
    <dgm:cxn modelId="{E5FB46ED-5EA2-431D-86B1-2F17309EFE1E}" srcId="{32FCE99D-BEEB-426C-A417-2ACF4B71374A}" destId="{80291FC2-9BE3-485F-BBEA-BD4E989DFFFE}" srcOrd="1" destOrd="0" parTransId="{CC1EF2E2-5938-4236-BC53-628DD90F28BE}" sibTransId="{FFF5B0A1-8F34-4326-BB61-6DD9F53364D4}"/>
    <dgm:cxn modelId="{106A6EEF-4944-4797-91D2-5A77944E5FB3}" type="presOf" srcId="{32FCE99D-BEEB-426C-A417-2ACF4B71374A}" destId="{33ED0134-F0A2-40D7-B58F-03FB7D090D7D}" srcOrd="0" destOrd="0" presId="urn:microsoft.com/office/officeart/2005/8/layout/default"/>
    <dgm:cxn modelId="{3AB3C19A-E5A8-47E9-BA64-23E516C23BFE}" type="presParOf" srcId="{33ED0134-F0A2-40D7-B58F-03FB7D090D7D}" destId="{E0D7FDBB-94A5-4C1F-AA27-4C5896F11B1F}" srcOrd="0" destOrd="0" presId="urn:microsoft.com/office/officeart/2005/8/layout/default"/>
    <dgm:cxn modelId="{D82D39F8-D39D-4119-952A-E5AC3CC77E57}" type="presParOf" srcId="{33ED0134-F0A2-40D7-B58F-03FB7D090D7D}" destId="{26F87059-AE19-40B0-B7CA-0FF0A1621009}" srcOrd="1" destOrd="0" presId="urn:microsoft.com/office/officeart/2005/8/layout/default"/>
    <dgm:cxn modelId="{6A568655-E05D-4AB8-B357-D2F65C4A9409}" type="presParOf" srcId="{33ED0134-F0A2-40D7-B58F-03FB7D090D7D}" destId="{06891233-DDC8-40FF-9BB8-3A848023A124}" srcOrd="2" destOrd="0" presId="urn:microsoft.com/office/officeart/2005/8/layout/default"/>
    <dgm:cxn modelId="{A4816FFD-45A4-4889-A1F8-16CC822811F4}" type="presParOf" srcId="{33ED0134-F0A2-40D7-B58F-03FB7D090D7D}" destId="{3E54F108-E0E5-4B09-B4F0-B1D6D1264D98}" srcOrd="3" destOrd="0" presId="urn:microsoft.com/office/officeart/2005/8/layout/default"/>
    <dgm:cxn modelId="{0EC8559F-4411-4BBD-8EE3-E22811590577}" type="presParOf" srcId="{33ED0134-F0A2-40D7-B58F-03FB7D090D7D}" destId="{8BD081A0-59CC-47C3-A8A5-D1A508C66BFA}" srcOrd="4" destOrd="0" presId="urn:microsoft.com/office/officeart/2005/8/layout/default"/>
    <dgm:cxn modelId="{B51F5C02-C60C-482B-B64B-45A11F64A2B0}" type="presParOf" srcId="{33ED0134-F0A2-40D7-B58F-03FB7D090D7D}" destId="{4D466B0B-E867-4C7F-9210-A1B0783B5F39}" srcOrd="5" destOrd="0" presId="urn:microsoft.com/office/officeart/2005/8/layout/default"/>
    <dgm:cxn modelId="{07396D9F-B062-4252-B753-83EB433F5A7C}" type="presParOf" srcId="{33ED0134-F0A2-40D7-B58F-03FB7D090D7D}" destId="{17D7B5B2-BD68-4DD2-AEF6-5553AF1D3781}" srcOrd="6" destOrd="0" presId="urn:microsoft.com/office/officeart/2005/8/layout/default"/>
    <dgm:cxn modelId="{2030EAE1-9F62-4E63-92D3-DA00DC9E6DB0}" type="presParOf" srcId="{33ED0134-F0A2-40D7-B58F-03FB7D090D7D}" destId="{8067A59D-1C20-4F6E-89E6-0B371EB74087}" srcOrd="7" destOrd="0" presId="urn:microsoft.com/office/officeart/2005/8/layout/default"/>
    <dgm:cxn modelId="{18C58346-CBC3-4FFF-8BC1-B56EFD072244}" type="presParOf" srcId="{33ED0134-F0A2-40D7-B58F-03FB7D090D7D}" destId="{6E18E0A5-FCBC-4732-9641-0CEF3CFDFAC3}" srcOrd="8" destOrd="0" presId="urn:microsoft.com/office/officeart/2005/8/layout/default"/>
    <dgm:cxn modelId="{35D7FAEB-B775-4388-B957-FCF76620B614}" type="presParOf" srcId="{33ED0134-F0A2-40D7-B58F-03FB7D090D7D}" destId="{CF14098F-60D4-4C28-837D-1E803C67A5BA}" srcOrd="9" destOrd="0" presId="urn:microsoft.com/office/officeart/2005/8/layout/default"/>
    <dgm:cxn modelId="{E44666AC-9386-4B63-B6C9-F360F8261291}" type="presParOf" srcId="{33ED0134-F0A2-40D7-B58F-03FB7D090D7D}" destId="{F1E388E0-2DC2-40A6-B7E5-2A62284561C5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8C16051-69BF-488A-98A0-370C98A5F1BF}" type="doc">
      <dgm:prSet loTypeId="urn:microsoft.com/office/officeart/2005/8/layout/default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C85E455E-6A31-4EFF-8DD2-25BF58A514E8}">
      <dgm:prSet phldrT="[Text]" phldr="0"/>
      <dgm:spPr/>
      <dgm:t>
        <a:bodyPr/>
        <a:lstStyle/>
        <a:p>
          <a:pPr algn="l"/>
          <a:r>
            <a:rPr lang="en-US">
              <a:latin typeface="Calibri" panose="020F0502020204030204"/>
            </a:rPr>
            <a:t>Unblinding Provider Rates</a:t>
          </a:r>
          <a:endParaRPr lang="en-US"/>
        </a:p>
      </dgm:t>
    </dgm:pt>
    <dgm:pt modelId="{85523890-C391-4FC4-8DCB-7AE8638B636A}" type="parTrans" cxnId="{7DFA6E1D-A955-4873-8241-D92CABA861F7}">
      <dgm:prSet/>
      <dgm:spPr/>
      <dgm:t>
        <a:bodyPr/>
        <a:lstStyle/>
        <a:p>
          <a:endParaRPr lang="en-US"/>
        </a:p>
      </dgm:t>
    </dgm:pt>
    <dgm:pt modelId="{AB292DDB-B791-4DFB-B11E-08AB338120DC}" type="sibTrans" cxnId="{7DFA6E1D-A955-4873-8241-D92CABA861F7}">
      <dgm:prSet/>
      <dgm:spPr/>
      <dgm:t>
        <a:bodyPr/>
        <a:lstStyle/>
        <a:p>
          <a:endParaRPr lang="en-US"/>
        </a:p>
      </dgm:t>
    </dgm:pt>
    <dgm:pt modelId="{E6373859-14EE-4C40-95C8-F0A18ACAED76}">
      <dgm:prSet phldr="0"/>
      <dgm:spPr/>
      <dgm:t>
        <a:bodyPr/>
        <a:lstStyle/>
        <a:p>
          <a:pPr algn="l" rtl="0"/>
          <a:r>
            <a:rPr lang="en-US">
              <a:latin typeface="Calibri" panose="020F0502020204030204"/>
            </a:rPr>
            <a:t>Physician Engagement and Buy-in</a:t>
          </a:r>
        </a:p>
      </dgm:t>
    </dgm:pt>
    <dgm:pt modelId="{97366C08-8A42-434C-A6F0-90D7FCE4C6D6}" type="parTrans" cxnId="{821A7451-F162-4A82-8B60-697148C5B127}">
      <dgm:prSet/>
      <dgm:spPr/>
    </dgm:pt>
    <dgm:pt modelId="{40899A76-C598-4166-B390-B194FBEADDFC}" type="sibTrans" cxnId="{821A7451-F162-4A82-8B60-697148C5B127}">
      <dgm:prSet/>
      <dgm:spPr/>
    </dgm:pt>
    <dgm:pt modelId="{2BD48D34-C8B9-42E8-97FE-C91262AF089B}">
      <dgm:prSet phldr="0"/>
      <dgm:spPr/>
      <dgm:t>
        <a:bodyPr/>
        <a:lstStyle/>
        <a:p>
          <a:pPr algn="l"/>
          <a:r>
            <a:rPr lang="en-US">
              <a:latin typeface="Calibri" panose="020F0502020204030204"/>
            </a:rPr>
            <a:t>Checklist Utilization</a:t>
          </a:r>
        </a:p>
      </dgm:t>
    </dgm:pt>
    <dgm:pt modelId="{8B01FE4A-C7EF-4013-86D6-9F2E66D34A6F}" type="parTrans" cxnId="{BDCDCB76-B4D1-495B-BE56-A18F189F6003}">
      <dgm:prSet/>
      <dgm:spPr/>
    </dgm:pt>
    <dgm:pt modelId="{D4AA14D5-6D68-49F3-8E62-AB627DBB8ED8}" type="sibTrans" cxnId="{BDCDCB76-B4D1-495B-BE56-A18F189F6003}">
      <dgm:prSet/>
      <dgm:spPr/>
    </dgm:pt>
    <dgm:pt modelId="{57B8657B-BB07-4BC9-9D4A-1D8D535BA9F8}">
      <dgm:prSet phldr="0"/>
      <dgm:spPr/>
      <dgm:t>
        <a:bodyPr/>
        <a:lstStyle/>
        <a:p>
          <a:pPr algn="l"/>
          <a:r>
            <a:rPr lang="en-US">
              <a:latin typeface="Calibri" panose="020F0502020204030204"/>
            </a:rPr>
            <a:t>Huddle Utilization</a:t>
          </a:r>
        </a:p>
      </dgm:t>
    </dgm:pt>
    <dgm:pt modelId="{66ADCC53-299F-4BD6-A5E4-51CD3BD249D1}" type="parTrans" cxnId="{38FD5BFB-04FE-48BE-AA9F-42A50AC20E65}">
      <dgm:prSet/>
      <dgm:spPr/>
    </dgm:pt>
    <dgm:pt modelId="{3575056F-9ED3-4C83-939C-1F87C18C9D08}" type="sibTrans" cxnId="{38FD5BFB-04FE-48BE-AA9F-42A50AC20E65}">
      <dgm:prSet/>
      <dgm:spPr/>
    </dgm:pt>
    <dgm:pt modelId="{A596B399-66B1-406D-A9E6-D5BB9D1DB5D6}" type="pres">
      <dgm:prSet presAssocID="{48C16051-69BF-488A-98A0-370C98A5F1BF}" presName="diagram" presStyleCnt="0">
        <dgm:presLayoutVars>
          <dgm:dir/>
          <dgm:resizeHandles val="exact"/>
        </dgm:presLayoutVars>
      </dgm:prSet>
      <dgm:spPr/>
    </dgm:pt>
    <dgm:pt modelId="{FE17134F-BC95-4FBA-8E97-775708D92512}" type="pres">
      <dgm:prSet presAssocID="{E6373859-14EE-4C40-95C8-F0A18ACAED76}" presName="node" presStyleLbl="node1" presStyleIdx="0" presStyleCnt="4">
        <dgm:presLayoutVars>
          <dgm:bulletEnabled val="1"/>
        </dgm:presLayoutVars>
      </dgm:prSet>
      <dgm:spPr/>
    </dgm:pt>
    <dgm:pt modelId="{85D15779-AEA0-4E49-B036-58302259EFBE}" type="pres">
      <dgm:prSet presAssocID="{40899A76-C598-4166-B390-B194FBEADDFC}" presName="sibTrans" presStyleCnt="0"/>
      <dgm:spPr/>
    </dgm:pt>
    <dgm:pt modelId="{5DDDAC32-5CB2-48A8-8D88-23528B8EDA54}" type="pres">
      <dgm:prSet presAssocID="{2BD48D34-C8B9-42E8-97FE-C91262AF089B}" presName="node" presStyleLbl="node1" presStyleIdx="1" presStyleCnt="4">
        <dgm:presLayoutVars>
          <dgm:bulletEnabled val="1"/>
        </dgm:presLayoutVars>
      </dgm:prSet>
      <dgm:spPr/>
    </dgm:pt>
    <dgm:pt modelId="{E987E014-144D-482B-A8A8-0334E69DA950}" type="pres">
      <dgm:prSet presAssocID="{D4AA14D5-6D68-49F3-8E62-AB627DBB8ED8}" presName="sibTrans" presStyleCnt="0"/>
      <dgm:spPr/>
    </dgm:pt>
    <dgm:pt modelId="{FC420FC4-7472-428B-B37A-05B445DA7A0C}" type="pres">
      <dgm:prSet presAssocID="{57B8657B-BB07-4BC9-9D4A-1D8D535BA9F8}" presName="node" presStyleLbl="node1" presStyleIdx="2" presStyleCnt="4">
        <dgm:presLayoutVars>
          <dgm:bulletEnabled val="1"/>
        </dgm:presLayoutVars>
      </dgm:prSet>
      <dgm:spPr/>
    </dgm:pt>
    <dgm:pt modelId="{4DE0B119-1B57-40AC-85A2-79B679910C77}" type="pres">
      <dgm:prSet presAssocID="{3575056F-9ED3-4C83-939C-1F87C18C9D08}" presName="sibTrans" presStyleCnt="0"/>
      <dgm:spPr/>
    </dgm:pt>
    <dgm:pt modelId="{D5160A29-F153-42F2-A6C7-4308E25EEDFD}" type="pres">
      <dgm:prSet presAssocID="{C85E455E-6A31-4EFF-8DD2-25BF58A514E8}" presName="node" presStyleLbl="node1" presStyleIdx="3" presStyleCnt="4">
        <dgm:presLayoutVars>
          <dgm:bulletEnabled val="1"/>
        </dgm:presLayoutVars>
      </dgm:prSet>
      <dgm:spPr/>
    </dgm:pt>
  </dgm:ptLst>
  <dgm:cxnLst>
    <dgm:cxn modelId="{DE0EEB0D-3542-4517-A2BC-BEB4330D0406}" type="presOf" srcId="{E6373859-14EE-4C40-95C8-F0A18ACAED76}" destId="{FE17134F-BC95-4FBA-8E97-775708D92512}" srcOrd="0" destOrd="0" presId="urn:microsoft.com/office/officeart/2005/8/layout/default"/>
    <dgm:cxn modelId="{7DFA6E1D-A955-4873-8241-D92CABA861F7}" srcId="{48C16051-69BF-488A-98A0-370C98A5F1BF}" destId="{C85E455E-6A31-4EFF-8DD2-25BF58A514E8}" srcOrd="3" destOrd="0" parTransId="{85523890-C391-4FC4-8DCB-7AE8638B636A}" sibTransId="{AB292DDB-B791-4DFB-B11E-08AB338120DC}"/>
    <dgm:cxn modelId="{821A7451-F162-4A82-8B60-697148C5B127}" srcId="{48C16051-69BF-488A-98A0-370C98A5F1BF}" destId="{E6373859-14EE-4C40-95C8-F0A18ACAED76}" srcOrd="0" destOrd="0" parTransId="{97366C08-8A42-434C-A6F0-90D7FCE4C6D6}" sibTransId="{40899A76-C598-4166-B390-B194FBEADDFC}"/>
    <dgm:cxn modelId="{BDCDCB76-B4D1-495B-BE56-A18F189F6003}" srcId="{48C16051-69BF-488A-98A0-370C98A5F1BF}" destId="{2BD48D34-C8B9-42E8-97FE-C91262AF089B}" srcOrd="1" destOrd="0" parTransId="{8B01FE4A-C7EF-4013-86D6-9F2E66D34A6F}" sibTransId="{D4AA14D5-6D68-49F3-8E62-AB627DBB8ED8}"/>
    <dgm:cxn modelId="{63B46684-2379-4E61-8B7E-C891392BC98E}" type="presOf" srcId="{57B8657B-BB07-4BC9-9D4A-1D8D535BA9F8}" destId="{FC420FC4-7472-428B-B37A-05B445DA7A0C}" srcOrd="0" destOrd="0" presId="urn:microsoft.com/office/officeart/2005/8/layout/default"/>
    <dgm:cxn modelId="{F94A8490-621B-40AA-A8F0-E9EAF20C3CF7}" type="presOf" srcId="{48C16051-69BF-488A-98A0-370C98A5F1BF}" destId="{A596B399-66B1-406D-A9E6-D5BB9D1DB5D6}" srcOrd="0" destOrd="0" presId="urn:microsoft.com/office/officeart/2005/8/layout/default"/>
    <dgm:cxn modelId="{E31A209F-8CED-48A9-A236-DA75C203F484}" type="presOf" srcId="{C85E455E-6A31-4EFF-8DD2-25BF58A514E8}" destId="{D5160A29-F153-42F2-A6C7-4308E25EEDFD}" srcOrd="0" destOrd="0" presId="urn:microsoft.com/office/officeart/2005/8/layout/default"/>
    <dgm:cxn modelId="{9A5A2DA7-E7CE-46A2-9C44-C2C7EBE32F22}" type="presOf" srcId="{2BD48D34-C8B9-42E8-97FE-C91262AF089B}" destId="{5DDDAC32-5CB2-48A8-8D88-23528B8EDA54}" srcOrd="0" destOrd="0" presId="urn:microsoft.com/office/officeart/2005/8/layout/default"/>
    <dgm:cxn modelId="{38FD5BFB-04FE-48BE-AA9F-42A50AC20E65}" srcId="{48C16051-69BF-488A-98A0-370C98A5F1BF}" destId="{57B8657B-BB07-4BC9-9D4A-1D8D535BA9F8}" srcOrd="2" destOrd="0" parTransId="{66ADCC53-299F-4BD6-A5E4-51CD3BD249D1}" sibTransId="{3575056F-9ED3-4C83-939C-1F87C18C9D08}"/>
    <dgm:cxn modelId="{849ED481-33F8-4206-ABBB-3C2FA7D0FF11}" type="presParOf" srcId="{A596B399-66B1-406D-A9E6-D5BB9D1DB5D6}" destId="{FE17134F-BC95-4FBA-8E97-775708D92512}" srcOrd="0" destOrd="0" presId="urn:microsoft.com/office/officeart/2005/8/layout/default"/>
    <dgm:cxn modelId="{B623A196-328D-441D-B6B5-549568877B48}" type="presParOf" srcId="{A596B399-66B1-406D-A9E6-D5BB9D1DB5D6}" destId="{85D15779-AEA0-4E49-B036-58302259EFBE}" srcOrd="1" destOrd="0" presId="urn:microsoft.com/office/officeart/2005/8/layout/default"/>
    <dgm:cxn modelId="{19CFB337-13AC-4FEE-80D3-D8E725A7F5DD}" type="presParOf" srcId="{A596B399-66B1-406D-A9E6-D5BB9D1DB5D6}" destId="{5DDDAC32-5CB2-48A8-8D88-23528B8EDA54}" srcOrd="2" destOrd="0" presId="urn:microsoft.com/office/officeart/2005/8/layout/default"/>
    <dgm:cxn modelId="{C7DC3FF9-B66C-468A-8F5A-79235AF681CD}" type="presParOf" srcId="{A596B399-66B1-406D-A9E6-D5BB9D1DB5D6}" destId="{E987E014-144D-482B-A8A8-0334E69DA950}" srcOrd="3" destOrd="0" presId="urn:microsoft.com/office/officeart/2005/8/layout/default"/>
    <dgm:cxn modelId="{C0BCA3EF-C3CF-468B-B6B5-B15D5FB07923}" type="presParOf" srcId="{A596B399-66B1-406D-A9E6-D5BB9D1DB5D6}" destId="{FC420FC4-7472-428B-B37A-05B445DA7A0C}" srcOrd="4" destOrd="0" presId="urn:microsoft.com/office/officeart/2005/8/layout/default"/>
    <dgm:cxn modelId="{88BEA7E9-2987-44DA-B1AA-57D48CA5C501}" type="presParOf" srcId="{A596B399-66B1-406D-A9E6-D5BB9D1DB5D6}" destId="{4DE0B119-1B57-40AC-85A2-79B679910C77}" srcOrd="5" destOrd="0" presId="urn:microsoft.com/office/officeart/2005/8/layout/default"/>
    <dgm:cxn modelId="{896F4B78-E604-43FC-ADAA-C054B96F3C8E}" type="presParOf" srcId="{A596B399-66B1-406D-A9E6-D5BB9D1DB5D6}" destId="{D5160A29-F153-42F2-A6C7-4308E25EEDFD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45C7233-18EB-4874-AE88-47F57070DBA0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36529C6-55BA-4874-B969-48E8B658D2BF}">
      <dgm:prSet custT="1"/>
      <dgm:spPr/>
      <dgm:t>
        <a:bodyPr/>
        <a:lstStyle/>
        <a:p>
          <a:pPr rtl="0"/>
          <a:r>
            <a:rPr lang="en-US" sz="2200">
              <a:latin typeface="Arial" panose="020B0604020202020204"/>
            </a:rPr>
            <a:t>Fallout Review</a:t>
          </a:r>
          <a:endParaRPr lang="en-US" sz="2200"/>
        </a:p>
      </dgm:t>
    </dgm:pt>
    <dgm:pt modelId="{F7202264-700C-4536-A100-2FA1132188A9}" type="parTrans" cxnId="{7D6FEECC-1D1F-4016-B386-9AD8AB307A26}">
      <dgm:prSet/>
      <dgm:spPr/>
      <dgm:t>
        <a:bodyPr/>
        <a:lstStyle/>
        <a:p>
          <a:endParaRPr lang="en-US" sz="2200"/>
        </a:p>
      </dgm:t>
    </dgm:pt>
    <dgm:pt modelId="{81438731-178D-4188-AF0F-740F65536E82}" type="sibTrans" cxnId="{7D6FEECC-1D1F-4016-B386-9AD8AB307A26}">
      <dgm:prSet/>
      <dgm:spPr/>
      <dgm:t>
        <a:bodyPr/>
        <a:lstStyle/>
        <a:p>
          <a:endParaRPr lang="en-US" sz="2200"/>
        </a:p>
      </dgm:t>
    </dgm:pt>
    <dgm:pt modelId="{C851C457-F565-43D0-8801-7501C41FB27F}">
      <dgm:prSet custT="1"/>
      <dgm:spPr/>
      <dgm:t>
        <a:bodyPr/>
        <a:lstStyle/>
        <a:p>
          <a:pPr rtl="0"/>
          <a:r>
            <a:rPr lang="en-US" sz="2200"/>
            <a:t>ACOG/SMFM Guidelines posted</a:t>
          </a:r>
        </a:p>
      </dgm:t>
    </dgm:pt>
    <dgm:pt modelId="{C1AB3E3E-3F71-4AEE-BE58-DC76BF4988D0}" type="parTrans" cxnId="{D356685F-1BB4-48BE-AC1C-9F02BF886B7F}">
      <dgm:prSet/>
      <dgm:spPr/>
      <dgm:t>
        <a:bodyPr/>
        <a:lstStyle/>
        <a:p>
          <a:endParaRPr lang="en-US" sz="2200"/>
        </a:p>
      </dgm:t>
    </dgm:pt>
    <dgm:pt modelId="{668A04ED-2A54-4294-8D1C-399C39042E3E}" type="sibTrans" cxnId="{D356685F-1BB4-48BE-AC1C-9F02BF886B7F}">
      <dgm:prSet/>
      <dgm:spPr/>
      <dgm:t>
        <a:bodyPr/>
        <a:lstStyle/>
        <a:p>
          <a:endParaRPr lang="en-US" sz="2200"/>
        </a:p>
      </dgm:t>
    </dgm:pt>
    <dgm:pt modelId="{AD7945AC-6E54-40E9-BE74-6A7623DCAF74}">
      <dgm:prSet custT="1"/>
      <dgm:spPr/>
      <dgm:t>
        <a:bodyPr/>
        <a:lstStyle/>
        <a:p>
          <a:pPr rtl="0"/>
          <a:r>
            <a:rPr lang="en-US" sz="2200">
              <a:latin typeface="Arial" panose="020B0604020202020204"/>
            </a:rPr>
            <a:t>Use of Checklists and Huddles</a:t>
          </a:r>
          <a:endParaRPr lang="en-US" sz="2200"/>
        </a:p>
      </dgm:t>
    </dgm:pt>
    <dgm:pt modelId="{42100F97-3AAE-478E-94FE-A4CB5A666760}" type="parTrans" cxnId="{EE00F0D8-D5C7-4DC0-AD23-5943F3E9BD2A}">
      <dgm:prSet/>
      <dgm:spPr/>
      <dgm:t>
        <a:bodyPr/>
        <a:lstStyle/>
        <a:p>
          <a:endParaRPr lang="en-US" sz="2200"/>
        </a:p>
      </dgm:t>
    </dgm:pt>
    <dgm:pt modelId="{B8217037-3764-4DDD-8880-945BE24B3561}" type="sibTrans" cxnId="{EE00F0D8-D5C7-4DC0-AD23-5943F3E9BD2A}">
      <dgm:prSet/>
      <dgm:spPr/>
      <dgm:t>
        <a:bodyPr/>
        <a:lstStyle/>
        <a:p>
          <a:endParaRPr lang="en-US" sz="2200"/>
        </a:p>
      </dgm:t>
    </dgm:pt>
    <dgm:pt modelId="{EAFE81A3-556A-4382-A58A-39033DD4281A}">
      <dgm:prSet phldr="0" custT="1"/>
      <dgm:spPr/>
      <dgm:t>
        <a:bodyPr/>
        <a:lstStyle/>
        <a:p>
          <a:pPr rtl="0"/>
          <a:r>
            <a:rPr lang="en-US" sz="2200">
              <a:latin typeface="Arial" panose="020B0604020202020204"/>
            </a:rPr>
            <a:t>Provider and Nurse Education</a:t>
          </a:r>
          <a:endParaRPr lang="en-US" sz="2200"/>
        </a:p>
      </dgm:t>
    </dgm:pt>
    <dgm:pt modelId="{4A2A58DF-5681-4EE4-9425-1252F6D9F8C4}" type="parTrans" cxnId="{AFA23070-6C44-4423-ABB2-423B73499415}">
      <dgm:prSet/>
      <dgm:spPr/>
      <dgm:t>
        <a:bodyPr/>
        <a:lstStyle/>
        <a:p>
          <a:endParaRPr lang="en-US" sz="2200"/>
        </a:p>
      </dgm:t>
    </dgm:pt>
    <dgm:pt modelId="{EE89AFC0-9292-4364-AA14-EA386A961913}" type="sibTrans" cxnId="{AFA23070-6C44-4423-ABB2-423B73499415}">
      <dgm:prSet/>
      <dgm:spPr/>
      <dgm:t>
        <a:bodyPr/>
        <a:lstStyle/>
        <a:p>
          <a:endParaRPr lang="en-US" sz="2200"/>
        </a:p>
      </dgm:t>
    </dgm:pt>
    <dgm:pt modelId="{192103DD-10CC-45A7-9713-512A0EC0A1C1}" type="pres">
      <dgm:prSet presAssocID="{D45C7233-18EB-4874-AE88-47F57070DBA0}" presName="Name0" presStyleCnt="0">
        <dgm:presLayoutVars>
          <dgm:dir/>
          <dgm:animLvl val="lvl"/>
          <dgm:resizeHandles val="exact"/>
        </dgm:presLayoutVars>
      </dgm:prSet>
      <dgm:spPr/>
    </dgm:pt>
    <dgm:pt modelId="{F453AF88-B1E4-4969-99D5-FAA5906CCB36}" type="pres">
      <dgm:prSet presAssocID="{336529C6-55BA-4874-B969-48E8B658D2BF}" presName="linNode" presStyleCnt="0"/>
      <dgm:spPr/>
    </dgm:pt>
    <dgm:pt modelId="{4C4656EA-6ECC-446C-B622-066CA8CC003B}" type="pres">
      <dgm:prSet presAssocID="{336529C6-55BA-4874-B969-48E8B658D2BF}" presName="parentText" presStyleLbl="node1" presStyleIdx="0" presStyleCnt="4">
        <dgm:presLayoutVars>
          <dgm:chMax val="1"/>
          <dgm:bulletEnabled val="1"/>
        </dgm:presLayoutVars>
      </dgm:prSet>
      <dgm:spPr/>
    </dgm:pt>
    <dgm:pt modelId="{66B053BB-E04B-4710-A5BF-BBD87AFB95E1}" type="pres">
      <dgm:prSet presAssocID="{81438731-178D-4188-AF0F-740F65536E82}" presName="sp" presStyleCnt="0"/>
      <dgm:spPr/>
    </dgm:pt>
    <dgm:pt modelId="{61C38A54-5CF1-4059-AB9B-67FC439B5B4A}" type="pres">
      <dgm:prSet presAssocID="{C851C457-F565-43D0-8801-7501C41FB27F}" presName="linNode" presStyleCnt="0"/>
      <dgm:spPr/>
    </dgm:pt>
    <dgm:pt modelId="{8D15C24A-9621-4CD6-9950-5FC0D4F1B06A}" type="pres">
      <dgm:prSet presAssocID="{C851C457-F565-43D0-8801-7501C41FB27F}" presName="parentText" presStyleLbl="node1" presStyleIdx="1" presStyleCnt="4">
        <dgm:presLayoutVars>
          <dgm:chMax val="1"/>
          <dgm:bulletEnabled val="1"/>
        </dgm:presLayoutVars>
      </dgm:prSet>
      <dgm:spPr/>
    </dgm:pt>
    <dgm:pt modelId="{FF417794-929B-4A6A-90EA-568FBB58050A}" type="pres">
      <dgm:prSet presAssocID="{668A04ED-2A54-4294-8D1C-399C39042E3E}" presName="sp" presStyleCnt="0"/>
      <dgm:spPr/>
    </dgm:pt>
    <dgm:pt modelId="{3ED47C76-B192-4472-97B7-2D2A02A25B8B}" type="pres">
      <dgm:prSet presAssocID="{AD7945AC-6E54-40E9-BE74-6A7623DCAF74}" presName="linNode" presStyleCnt="0"/>
      <dgm:spPr/>
    </dgm:pt>
    <dgm:pt modelId="{C6F90119-B73B-45A1-8EC2-AA92EADE911B}" type="pres">
      <dgm:prSet presAssocID="{AD7945AC-6E54-40E9-BE74-6A7623DCAF74}" presName="parentText" presStyleLbl="node1" presStyleIdx="2" presStyleCnt="4">
        <dgm:presLayoutVars>
          <dgm:chMax val="1"/>
          <dgm:bulletEnabled val="1"/>
        </dgm:presLayoutVars>
      </dgm:prSet>
      <dgm:spPr/>
    </dgm:pt>
    <dgm:pt modelId="{215C4882-5385-44F2-B14E-A27001295DB1}" type="pres">
      <dgm:prSet presAssocID="{B8217037-3764-4DDD-8880-945BE24B3561}" presName="sp" presStyleCnt="0"/>
      <dgm:spPr/>
    </dgm:pt>
    <dgm:pt modelId="{1B5B3657-F6A1-45D8-B9D1-687D3A9C3DF1}" type="pres">
      <dgm:prSet presAssocID="{EAFE81A3-556A-4382-A58A-39033DD4281A}" presName="linNode" presStyleCnt="0"/>
      <dgm:spPr/>
    </dgm:pt>
    <dgm:pt modelId="{699182AC-0B7B-4992-B3AB-D36F6A375B63}" type="pres">
      <dgm:prSet presAssocID="{EAFE81A3-556A-4382-A58A-39033DD4281A}" presName="parentText" presStyleLbl="node1" presStyleIdx="3" presStyleCnt="4">
        <dgm:presLayoutVars>
          <dgm:chMax val="1"/>
          <dgm:bulletEnabled val="1"/>
        </dgm:presLayoutVars>
      </dgm:prSet>
      <dgm:spPr/>
    </dgm:pt>
  </dgm:ptLst>
  <dgm:cxnLst>
    <dgm:cxn modelId="{44511307-A0CF-49C5-B055-F37EB244A008}" type="presOf" srcId="{AD7945AC-6E54-40E9-BE74-6A7623DCAF74}" destId="{C6F90119-B73B-45A1-8EC2-AA92EADE911B}" srcOrd="0" destOrd="0" presId="urn:microsoft.com/office/officeart/2005/8/layout/vList5"/>
    <dgm:cxn modelId="{2F03C108-16BB-4E48-8234-C28B27DB6BA5}" type="presOf" srcId="{336529C6-55BA-4874-B969-48E8B658D2BF}" destId="{4C4656EA-6ECC-446C-B622-066CA8CC003B}" srcOrd="0" destOrd="0" presId="urn:microsoft.com/office/officeart/2005/8/layout/vList5"/>
    <dgm:cxn modelId="{E3BC1236-1B9C-43C6-9C5A-5B7E8927FB1C}" type="presOf" srcId="{EAFE81A3-556A-4382-A58A-39033DD4281A}" destId="{699182AC-0B7B-4992-B3AB-D36F6A375B63}" srcOrd="0" destOrd="0" presId="urn:microsoft.com/office/officeart/2005/8/layout/vList5"/>
    <dgm:cxn modelId="{D356685F-1BB4-48BE-AC1C-9F02BF886B7F}" srcId="{D45C7233-18EB-4874-AE88-47F57070DBA0}" destId="{C851C457-F565-43D0-8801-7501C41FB27F}" srcOrd="1" destOrd="0" parTransId="{C1AB3E3E-3F71-4AEE-BE58-DC76BF4988D0}" sibTransId="{668A04ED-2A54-4294-8D1C-399C39042E3E}"/>
    <dgm:cxn modelId="{AFA23070-6C44-4423-ABB2-423B73499415}" srcId="{D45C7233-18EB-4874-AE88-47F57070DBA0}" destId="{EAFE81A3-556A-4382-A58A-39033DD4281A}" srcOrd="3" destOrd="0" parTransId="{4A2A58DF-5681-4EE4-9425-1252F6D9F8C4}" sibTransId="{EE89AFC0-9292-4364-AA14-EA386A961913}"/>
    <dgm:cxn modelId="{05F5E9A5-CE56-4DA7-A0A9-69707957EE37}" type="presOf" srcId="{C851C457-F565-43D0-8801-7501C41FB27F}" destId="{8D15C24A-9621-4CD6-9950-5FC0D4F1B06A}" srcOrd="0" destOrd="0" presId="urn:microsoft.com/office/officeart/2005/8/layout/vList5"/>
    <dgm:cxn modelId="{7D6FEECC-1D1F-4016-B386-9AD8AB307A26}" srcId="{D45C7233-18EB-4874-AE88-47F57070DBA0}" destId="{336529C6-55BA-4874-B969-48E8B658D2BF}" srcOrd="0" destOrd="0" parTransId="{F7202264-700C-4536-A100-2FA1132188A9}" sibTransId="{81438731-178D-4188-AF0F-740F65536E82}"/>
    <dgm:cxn modelId="{EE00F0D8-D5C7-4DC0-AD23-5943F3E9BD2A}" srcId="{D45C7233-18EB-4874-AE88-47F57070DBA0}" destId="{AD7945AC-6E54-40E9-BE74-6A7623DCAF74}" srcOrd="2" destOrd="0" parTransId="{42100F97-3AAE-478E-94FE-A4CB5A666760}" sibTransId="{B8217037-3764-4DDD-8880-945BE24B3561}"/>
    <dgm:cxn modelId="{CD40D3EB-1B4D-4164-946D-D5DCB2E54CF5}" type="presOf" srcId="{D45C7233-18EB-4874-AE88-47F57070DBA0}" destId="{192103DD-10CC-45A7-9713-512A0EC0A1C1}" srcOrd="0" destOrd="0" presId="urn:microsoft.com/office/officeart/2005/8/layout/vList5"/>
    <dgm:cxn modelId="{6E611D5A-62A9-4D57-BEF0-225C0D1005C3}" type="presParOf" srcId="{192103DD-10CC-45A7-9713-512A0EC0A1C1}" destId="{F453AF88-B1E4-4969-99D5-FAA5906CCB36}" srcOrd="0" destOrd="0" presId="urn:microsoft.com/office/officeart/2005/8/layout/vList5"/>
    <dgm:cxn modelId="{7EE9D444-1FD1-4C34-A023-1D0480C3ACB3}" type="presParOf" srcId="{F453AF88-B1E4-4969-99D5-FAA5906CCB36}" destId="{4C4656EA-6ECC-446C-B622-066CA8CC003B}" srcOrd="0" destOrd="0" presId="urn:microsoft.com/office/officeart/2005/8/layout/vList5"/>
    <dgm:cxn modelId="{A66160BF-DCF2-44AB-B503-A69908A299D6}" type="presParOf" srcId="{192103DD-10CC-45A7-9713-512A0EC0A1C1}" destId="{66B053BB-E04B-4710-A5BF-BBD87AFB95E1}" srcOrd="1" destOrd="0" presId="urn:microsoft.com/office/officeart/2005/8/layout/vList5"/>
    <dgm:cxn modelId="{2F5040AA-6190-45EE-9802-E1C9CA487165}" type="presParOf" srcId="{192103DD-10CC-45A7-9713-512A0EC0A1C1}" destId="{61C38A54-5CF1-4059-AB9B-67FC439B5B4A}" srcOrd="2" destOrd="0" presId="urn:microsoft.com/office/officeart/2005/8/layout/vList5"/>
    <dgm:cxn modelId="{6EE9D8D5-B491-4826-8349-C70E8826B400}" type="presParOf" srcId="{61C38A54-5CF1-4059-AB9B-67FC439B5B4A}" destId="{8D15C24A-9621-4CD6-9950-5FC0D4F1B06A}" srcOrd="0" destOrd="0" presId="urn:microsoft.com/office/officeart/2005/8/layout/vList5"/>
    <dgm:cxn modelId="{BBE5B227-3395-46B3-A438-95FB4CB57C26}" type="presParOf" srcId="{192103DD-10CC-45A7-9713-512A0EC0A1C1}" destId="{FF417794-929B-4A6A-90EA-568FBB58050A}" srcOrd="3" destOrd="0" presId="urn:microsoft.com/office/officeart/2005/8/layout/vList5"/>
    <dgm:cxn modelId="{3A114983-F5DB-4AFF-9F22-FF9ABCD9A303}" type="presParOf" srcId="{192103DD-10CC-45A7-9713-512A0EC0A1C1}" destId="{3ED47C76-B192-4472-97B7-2D2A02A25B8B}" srcOrd="4" destOrd="0" presId="urn:microsoft.com/office/officeart/2005/8/layout/vList5"/>
    <dgm:cxn modelId="{6446CF5A-70FE-472B-AA3F-EAD17FBA1956}" type="presParOf" srcId="{3ED47C76-B192-4472-97B7-2D2A02A25B8B}" destId="{C6F90119-B73B-45A1-8EC2-AA92EADE911B}" srcOrd="0" destOrd="0" presId="urn:microsoft.com/office/officeart/2005/8/layout/vList5"/>
    <dgm:cxn modelId="{DE71B5F8-9775-4930-BB0A-524B28BFD744}" type="presParOf" srcId="{192103DD-10CC-45A7-9713-512A0EC0A1C1}" destId="{215C4882-5385-44F2-B14E-A27001295DB1}" srcOrd="5" destOrd="0" presId="urn:microsoft.com/office/officeart/2005/8/layout/vList5"/>
    <dgm:cxn modelId="{A041410A-7F4C-44B1-AEFA-8B24DC824721}" type="presParOf" srcId="{192103DD-10CC-45A7-9713-512A0EC0A1C1}" destId="{1B5B3657-F6A1-45D8-B9D1-687D3A9C3DF1}" srcOrd="6" destOrd="0" presId="urn:microsoft.com/office/officeart/2005/8/layout/vList5"/>
    <dgm:cxn modelId="{989E466F-1508-4DD8-B7BE-E5098EBC2D6A}" type="presParOf" srcId="{1B5B3657-F6A1-45D8-B9D1-687D3A9C3DF1}" destId="{699182AC-0B7B-4992-B3AB-D36F6A375B63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A85F83D-A443-4DFD-AF61-D3F40C4EB9C7}" type="doc">
      <dgm:prSet loTypeId="urn:microsoft.com/office/officeart/2005/8/layout/hProcess9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D4552F6-1B3B-4EA2-8E73-5E0E113E3398}">
      <dgm:prSet phldrT="[Text]" phldr="0"/>
      <dgm:spPr/>
      <dgm:t>
        <a:bodyPr/>
        <a:lstStyle/>
        <a:p>
          <a:r>
            <a:rPr lang="en-US" dirty="0">
              <a:solidFill>
                <a:schemeClr val="bg1"/>
              </a:solidFill>
              <a:latin typeface="Arial"/>
            </a:rPr>
            <a:t>Teams who have achieved an NTSV C-Section Rate below 23.6% will be moving into sustainability</a:t>
          </a:r>
          <a:endParaRPr lang="en-US" dirty="0">
            <a:solidFill>
              <a:schemeClr val="bg1"/>
            </a:solidFill>
          </a:endParaRPr>
        </a:p>
      </dgm:t>
    </dgm:pt>
    <dgm:pt modelId="{2F2BD4BA-286F-497A-88D8-1A1AD4DBD3A6}" type="parTrans" cxnId="{580C4330-B5C9-42D6-AC03-EA39D93644BB}">
      <dgm:prSet/>
      <dgm:spPr/>
      <dgm:t>
        <a:bodyPr/>
        <a:lstStyle/>
        <a:p>
          <a:endParaRPr lang="en-US"/>
        </a:p>
      </dgm:t>
    </dgm:pt>
    <dgm:pt modelId="{A1869EEF-86E6-413A-8B79-BC3239ED9158}" type="sibTrans" cxnId="{580C4330-B5C9-42D6-AC03-EA39D93644BB}">
      <dgm:prSet/>
      <dgm:spPr/>
      <dgm:t>
        <a:bodyPr/>
        <a:lstStyle/>
        <a:p>
          <a:endParaRPr lang="en-US"/>
        </a:p>
      </dgm:t>
    </dgm:pt>
    <dgm:pt modelId="{AED6A050-D094-40CB-A6B4-0C6BB8BB4ABA}">
      <dgm:prSet phldr="0"/>
      <dgm:spPr/>
      <dgm:t>
        <a:bodyPr/>
        <a:lstStyle/>
        <a:p>
          <a:pPr rtl="0"/>
          <a:r>
            <a:rPr lang="en-US">
              <a:solidFill>
                <a:schemeClr val="bg1"/>
              </a:solidFill>
              <a:latin typeface="Calibri"/>
              <a:cs typeface="Calibri"/>
            </a:rPr>
            <a:t>Teams still working to reduce their NTSV C-Section Rate will participate in small group coaching</a:t>
          </a:r>
        </a:p>
      </dgm:t>
    </dgm:pt>
    <dgm:pt modelId="{720EEF04-94D2-4227-9D29-997D9BB43A28}" type="parTrans" cxnId="{889BF856-E08D-4587-B78E-FF85772EED96}">
      <dgm:prSet/>
      <dgm:spPr/>
      <dgm:t>
        <a:bodyPr/>
        <a:lstStyle/>
        <a:p>
          <a:endParaRPr lang="en-US"/>
        </a:p>
      </dgm:t>
    </dgm:pt>
    <dgm:pt modelId="{2190C9D2-CCEB-4A6F-AF3A-73B08DE8FF81}" type="sibTrans" cxnId="{889BF856-E08D-4587-B78E-FF85772EED96}">
      <dgm:prSet/>
      <dgm:spPr/>
      <dgm:t>
        <a:bodyPr/>
        <a:lstStyle/>
        <a:p>
          <a:endParaRPr lang="en-US"/>
        </a:p>
      </dgm:t>
    </dgm:pt>
    <dgm:pt modelId="{CBE02A24-EADA-41B6-AB7F-B051C80FB87B}" type="pres">
      <dgm:prSet presAssocID="{7A85F83D-A443-4DFD-AF61-D3F40C4EB9C7}" presName="CompostProcess" presStyleCnt="0">
        <dgm:presLayoutVars>
          <dgm:dir/>
          <dgm:resizeHandles val="exact"/>
        </dgm:presLayoutVars>
      </dgm:prSet>
      <dgm:spPr/>
    </dgm:pt>
    <dgm:pt modelId="{C1F32960-4EEF-4D8A-BA58-58A00FB9F529}" type="pres">
      <dgm:prSet presAssocID="{7A85F83D-A443-4DFD-AF61-D3F40C4EB9C7}" presName="arrow" presStyleLbl="bgShp" presStyleIdx="0" presStyleCnt="1"/>
      <dgm:spPr/>
    </dgm:pt>
    <dgm:pt modelId="{68C44423-E17F-43E6-B258-16697E765C61}" type="pres">
      <dgm:prSet presAssocID="{7A85F83D-A443-4DFD-AF61-D3F40C4EB9C7}" presName="linearProcess" presStyleCnt="0"/>
      <dgm:spPr/>
    </dgm:pt>
    <dgm:pt modelId="{4C71145D-28EC-42AA-B504-3CB4517B2029}" type="pres">
      <dgm:prSet presAssocID="{AED6A050-D094-40CB-A6B4-0C6BB8BB4ABA}" presName="textNode" presStyleLbl="node1" presStyleIdx="0" presStyleCnt="2">
        <dgm:presLayoutVars>
          <dgm:bulletEnabled val="1"/>
        </dgm:presLayoutVars>
      </dgm:prSet>
      <dgm:spPr/>
    </dgm:pt>
    <dgm:pt modelId="{69D715EC-C102-4EC9-AC42-5777E637FA56}" type="pres">
      <dgm:prSet presAssocID="{2190C9D2-CCEB-4A6F-AF3A-73B08DE8FF81}" presName="sibTrans" presStyleCnt="0"/>
      <dgm:spPr/>
    </dgm:pt>
    <dgm:pt modelId="{60BD5468-1F51-4C7E-8BF8-5218507C84A3}" type="pres">
      <dgm:prSet presAssocID="{4D4552F6-1B3B-4EA2-8E73-5E0E113E3398}" presName="textNode" presStyleLbl="node1" presStyleIdx="1" presStyleCnt="2">
        <dgm:presLayoutVars>
          <dgm:bulletEnabled val="1"/>
        </dgm:presLayoutVars>
      </dgm:prSet>
      <dgm:spPr/>
    </dgm:pt>
  </dgm:ptLst>
  <dgm:cxnLst>
    <dgm:cxn modelId="{8CA73206-B661-4093-8428-01B8C8C1B0FD}" type="presOf" srcId="{7A85F83D-A443-4DFD-AF61-D3F40C4EB9C7}" destId="{CBE02A24-EADA-41B6-AB7F-B051C80FB87B}" srcOrd="0" destOrd="0" presId="urn:microsoft.com/office/officeart/2005/8/layout/hProcess9"/>
    <dgm:cxn modelId="{580C4330-B5C9-42D6-AC03-EA39D93644BB}" srcId="{7A85F83D-A443-4DFD-AF61-D3F40C4EB9C7}" destId="{4D4552F6-1B3B-4EA2-8E73-5E0E113E3398}" srcOrd="1" destOrd="0" parTransId="{2F2BD4BA-286F-497A-88D8-1A1AD4DBD3A6}" sibTransId="{A1869EEF-86E6-413A-8B79-BC3239ED9158}"/>
    <dgm:cxn modelId="{E7E35750-7C23-4C25-A8E5-CEB1FF3981B0}" type="presOf" srcId="{4D4552F6-1B3B-4EA2-8E73-5E0E113E3398}" destId="{60BD5468-1F51-4C7E-8BF8-5218507C84A3}" srcOrd="0" destOrd="0" presId="urn:microsoft.com/office/officeart/2005/8/layout/hProcess9"/>
    <dgm:cxn modelId="{889BF856-E08D-4587-B78E-FF85772EED96}" srcId="{7A85F83D-A443-4DFD-AF61-D3F40C4EB9C7}" destId="{AED6A050-D094-40CB-A6B4-0C6BB8BB4ABA}" srcOrd="0" destOrd="0" parTransId="{720EEF04-94D2-4227-9D29-997D9BB43A28}" sibTransId="{2190C9D2-CCEB-4A6F-AF3A-73B08DE8FF81}"/>
    <dgm:cxn modelId="{E7A792FB-C306-4E30-8B46-F54D155C6217}" type="presOf" srcId="{AED6A050-D094-40CB-A6B4-0C6BB8BB4ABA}" destId="{4C71145D-28EC-42AA-B504-3CB4517B2029}" srcOrd="0" destOrd="0" presId="urn:microsoft.com/office/officeart/2005/8/layout/hProcess9"/>
    <dgm:cxn modelId="{08994450-F89B-462D-BB0F-D07A9C103794}" type="presParOf" srcId="{CBE02A24-EADA-41B6-AB7F-B051C80FB87B}" destId="{C1F32960-4EEF-4D8A-BA58-58A00FB9F529}" srcOrd="0" destOrd="0" presId="urn:microsoft.com/office/officeart/2005/8/layout/hProcess9"/>
    <dgm:cxn modelId="{8B6F4CA0-2B94-4F2B-B80F-1449DC677E4A}" type="presParOf" srcId="{CBE02A24-EADA-41B6-AB7F-B051C80FB87B}" destId="{68C44423-E17F-43E6-B258-16697E765C61}" srcOrd="1" destOrd="0" presId="urn:microsoft.com/office/officeart/2005/8/layout/hProcess9"/>
    <dgm:cxn modelId="{2956B9C2-A716-40E8-8988-2A0470535C9B}" type="presParOf" srcId="{68C44423-E17F-43E6-B258-16697E765C61}" destId="{4C71145D-28EC-42AA-B504-3CB4517B2029}" srcOrd="0" destOrd="0" presId="urn:microsoft.com/office/officeart/2005/8/layout/hProcess9"/>
    <dgm:cxn modelId="{77AC53E6-A73C-48D7-8530-33B63A2D012E}" type="presParOf" srcId="{68C44423-E17F-43E6-B258-16697E765C61}" destId="{69D715EC-C102-4EC9-AC42-5777E637FA56}" srcOrd="1" destOrd="0" presId="urn:microsoft.com/office/officeart/2005/8/layout/hProcess9"/>
    <dgm:cxn modelId="{6C726964-DA6A-456F-A06C-B4EF359BC181}" type="presParOf" srcId="{68C44423-E17F-43E6-B258-16697E765C61}" destId="{60BD5468-1F51-4C7E-8BF8-5218507C84A3}" srcOrd="2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803815D-97A3-403D-A635-9500A706CAAA}" type="doc">
      <dgm:prSet loTypeId="urn:microsoft.com/office/officeart/2005/8/layout/hList3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6589473B-5799-444D-B08B-E52E21DD5E26}">
      <dgm:prSet phldr="0"/>
      <dgm:spPr>
        <a:solidFill>
          <a:schemeClr val="accent1"/>
        </a:solidFill>
      </dgm:spPr>
      <dgm:t>
        <a:bodyPr/>
        <a:lstStyle/>
        <a:p>
          <a:pPr algn="l" rtl="0"/>
          <a:r>
            <a:rPr lang="en-US">
              <a:latin typeface="Calibri" panose="020F0502020204030204"/>
            </a:rPr>
            <a:t>2024 Coach Responsibilities</a:t>
          </a:r>
        </a:p>
      </dgm:t>
    </dgm:pt>
    <dgm:pt modelId="{FA1F63F9-C125-4B99-8FE0-1DA7628E920C}" type="parTrans" cxnId="{63564742-9319-4AA5-9B43-EB2607CC211A}">
      <dgm:prSet/>
      <dgm:spPr/>
      <dgm:t>
        <a:bodyPr/>
        <a:lstStyle/>
        <a:p>
          <a:endParaRPr lang="en-US"/>
        </a:p>
      </dgm:t>
    </dgm:pt>
    <dgm:pt modelId="{6DD28AC9-521D-4EF8-9957-EF02E3E89C22}" type="sibTrans" cxnId="{63564742-9319-4AA5-9B43-EB2607CC211A}">
      <dgm:prSet/>
      <dgm:spPr/>
      <dgm:t>
        <a:bodyPr/>
        <a:lstStyle/>
        <a:p>
          <a:endParaRPr lang="en-US"/>
        </a:p>
      </dgm:t>
    </dgm:pt>
    <dgm:pt modelId="{BCBBB294-D8D9-4092-AB90-B5BE931ED4A5}">
      <dgm:prSet phldr="0"/>
      <dgm:spPr/>
      <dgm:t>
        <a:bodyPr/>
        <a:lstStyle/>
        <a:p>
          <a:pPr algn="l" rtl="0"/>
          <a:r>
            <a:rPr lang="en-US">
              <a:solidFill>
                <a:schemeClr val="bg1"/>
              </a:solidFill>
              <a:latin typeface="Calibri" panose="020F0502020204030204"/>
            </a:rPr>
            <a:t>Attend Coaching Training Webinar and 2 Report Out meetings with ILPQC</a:t>
          </a:r>
        </a:p>
      </dgm:t>
    </dgm:pt>
    <dgm:pt modelId="{30935619-FA7E-4970-A51D-3CAE643DAAF6}" type="parTrans" cxnId="{BDD15057-D246-4B80-B9EC-0CEB01E50AF7}">
      <dgm:prSet/>
      <dgm:spPr/>
      <dgm:t>
        <a:bodyPr/>
        <a:lstStyle/>
        <a:p>
          <a:endParaRPr lang="en-US"/>
        </a:p>
      </dgm:t>
    </dgm:pt>
    <dgm:pt modelId="{48B82EED-6A00-4A94-B7F9-54150ABFCDDB}" type="sibTrans" cxnId="{BDD15057-D246-4B80-B9EC-0CEB01E50AF7}">
      <dgm:prSet/>
      <dgm:spPr/>
      <dgm:t>
        <a:bodyPr/>
        <a:lstStyle/>
        <a:p>
          <a:endParaRPr lang="en-US"/>
        </a:p>
      </dgm:t>
    </dgm:pt>
    <dgm:pt modelId="{467B04A3-D895-4536-BC98-E733D3E362C4}">
      <dgm:prSet phldr="0"/>
      <dgm:spPr/>
      <dgm:t>
        <a:bodyPr/>
        <a:lstStyle/>
        <a:p>
          <a:pPr algn="l" rtl="0"/>
          <a:r>
            <a:rPr lang="en-US">
              <a:latin typeface="Calibri" panose="020F0502020204030204"/>
            </a:rPr>
            <a:t>Lead quarterly coaching calls with a small group of PVB teams </a:t>
          </a:r>
        </a:p>
      </dgm:t>
    </dgm:pt>
    <dgm:pt modelId="{7B3AAADF-E512-4740-B756-06089B9EABFE}" type="parTrans" cxnId="{39336A5C-CC6D-410E-A05C-0F6A5DDB299D}">
      <dgm:prSet/>
      <dgm:spPr/>
      <dgm:t>
        <a:bodyPr/>
        <a:lstStyle/>
        <a:p>
          <a:endParaRPr lang="en-US"/>
        </a:p>
      </dgm:t>
    </dgm:pt>
    <dgm:pt modelId="{FC23DB92-D35D-48BC-BD50-B88A5BDAB32B}" type="sibTrans" cxnId="{39336A5C-CC6D-410E-A05C-0F6A5DDB299D}">
      <dgm:prSet/>
      <dgm:spPr/>
      <dgm:t>
        <a:bodyPr/>
        <a:lstStyle/>
        <a:p>
          <a:endParaRPr lang="en-US"/>
        </a:p>
      </dgm:t>
    </dgm:pt>
    <dgm:pt modelId="{44E0A10B-7B98-41B5-B452-F2D013477305}">
      <dgm:prSet phldr="0"/>
      <dgm:spPr/>
      <dgm:t>
        <a:bodyPr/>
        <a:lstStyle/>
        <a:p>
          <a:pPr algn="l" rtl="0"/>
          <a:r>
            <a:rPr lang="en-US">
              <a:latin typeface="Calibri" panose="020F0502020204030204"/>
            </a:rPr>
            <a:t>Attend 2-3 Hospital Key Players Meetings </a:t>
          </a:r>
        </a:p>
      </dgm:t>
    </dgm:pt>
    <dgm:pt modelId="{DF98EB2B-F0A5-433E-B9F1-175FF545A985}" type="parTrans" cxnId="{15CC403D-2719-4E4F-818F-3E13B8CF9C71}">
      <dgm:prSet/>
      <dgm:spPr/>
      <dgm:t>
        <a:bodyPr/>
        <a:lstStyle/>
        <a:p>
          <a:endParaRPr lang="en-US"/>
        </a:p>
      </dgm:t>
    </dgm:pt>
    <dgm:pt modelId="{11EC3AD6-646F-4A32-8F2F-D1E5BC474834}" type="sibTrans" cxnId="{15CC403D-2719-4E4F-818F-3E13B8CF9C71}">
      <dgm:prSet/>
      <dgm:spPr/>
      <dgm:t>
        <a:bodyPr/>
        <a:lstStyle/>
        <a:p>
          <a:endParaRPr lang="en-US"/>
        </a:p>
      </dgm:t>
    </dgm:pt>
    <dgm:pt modelId="{D22B8BB9-F405-40D0-95F8-7D60BD9ECC40}" type="pres">
      <dgm:prSet presAssocID="{E803815D-97A3-403D-A635-9500A706CAAA}" presName="composite" presStyleCnt="0">
        <dgm:presLayoutVars>
          <dgm:chMax val="1"/>
          <dgm:dir/>
          <dgm:resizeHandles val="exact"/>
        </dgm:presLayoutVars>
      </dgm:prSet>
      <dgm:spPr/>
    </dgm:pt>
    <dgm:pt modelId="{B0D8EC71-0318-42B1-88DA-DD64FF90F345}" type="pres">
      <dgm:prSet presAssocID="{6589473B-5799-444D-B08B-E52E21DD5E26}" presName="roof" presStyleLbl="dkBgShp" presStyleIdx="0" presStyleCnt="2"/>
      <dgm:spPr>
        <a:solidFill>
          <a:schemeClr val="accent1"/>
        </a:solidFill>
      </dgm:spPr>
    </dgm:pt>
    <dgm:pt modelId="{CADA22E9-01E4-4471-9B5D-299FE14C2708}" type="pres">
      <dgm:prSet presAssocID="{6589473B-5799-444D-B08B-E52E21DD5E26}" presName="pillars" presStyleCnt="0"/>
      <dgm:spPr/>
    </dgm:pt>
    <dgm:pt modelId="{917D74A2-BD1A-440E-BE7C-6923ECA8A1C2}" type="pres">
      <dgm:prSet presAssocID="{6589473B-5799-444D-B08B-E52E21DD5E26}" presName="pillar1" presStyleLbl="node1" presStyleIdx="0" presStyleCnt="3">
        <dgm:presLayoutVars>
          <dgm:bulletEnabled val="1"/>
        </dgm:presLayoutVars>
      </dgm:prSet>
      <dgm:spPr/>
    </dgm:pt>
    <dgm:pt modelId="{E37350B9-BE9E-430C-B991-B954C9D79B6D}" type="pres">
      <dgm:prSet presAssocID="{467B04A3-D895-4536-BC98-E733D3E362C4}" presName="pillarX" presStyleLbl="node1" presStyleIdx="1" presStyleCnt="3">
        <dgm:presLayoutVars>
          <dgm:bulletEnabled val="1"/>
        </dgm:presLayoutVars>
      </dgm:prSet>
      <dgm:spPr/>
    </dgm:pt>
    <dgm:pt modelId="{02326A27-B3D2-42D1-A9C2-4EB3CE2A4DA9}" type="pres">
      <dgm:prSet presAssocID="{44E0A10B-7B98-41B5-B452-F2D013477305}" presName="pillarX" presStyleLbl="node1" presStyleIdx="2" presStyleCnt="3">
        <dgm:presLayoutVars>
          <dgm:bulletEnabled val="1"/>
        </dgm:presLayoutVars>
      </dgm:prSet>
      <dgm:spPr>
        <a:solidFill>
          <a:schemeClr val="accent5"/>
        </a:solidFill>
      </dgm:spPr>
    </dgm:pt>
    <dgm:pt modelId="{C6EDB856-EFD8-4329-A800-B224C76CC396}" type="pres">
      <dgm:prSet presAssocID="{6589473B-5799-444D-B08B-E52E21DD5E26}" presName="base" presStyleLbl="dkBgShp" presStyleIdx="1" presStyleCnt="2"/>
      <dgm:spPr>
        <a:solidFill>
          <a:schemeClr val="accent1"/>
        </a:solidFill>
      </dgm:spPr>
    </dgm:pt>
  </dgm:ptLst>
  <dgm:cxnLst>
    <dgm:cxn modelId="{FE89722A-CD19-4A6A-A74F-F4C41C016FD9}" type="presOf" srcId="{E803815D-97A3-403D-A635-9500A706CAAA}" destId="{D22B8BB9-F405-40D0-95F8-7D60BD9ECC40}" srcOrd="0" destOrd="0" presId="urn:microsoft.com/office/officeart/2005/8/layout/hList3"/>
    <dgm:cxn modelId="{15CC403D-2719-4E4F-818F-3E13B8CF9C71}" srcId="{6589473B-5799-444D-B08B-E52E21DD5E26}" destId="{44E0A10B-7B98-41B5-B452-F2D013477305}" srcOrd="2" destOrd="0" parTransId="{DF98EB2B-F0A5-433E-B9F1-175FF545A985}" sibTransId="{11EC3AD6-646F-4A32-8F2F-D1E5BC474834}"/>
    <dgm:cxn modelId="{39336A5C-CC6D-410E-A05C-0F6A5DDB299D}" srcId="{6589473B-5799-444D-B08B-E52E21DD5E26}" destId="{467B04A3-D895-4536-BC98-E733D3E362C4}" srcOrd="1" destOrd="0" parTransId="{7B3AAADF-E512-4740-B756-06089B9EABFE}" sibTransId="{FC23DB92-D35D-48BC-BD50-B88A5BDAB32B}"/>
    <dgm:cxn modelId="{63564742-9319-4AA5-9B43-EB2607CC211A}" srcId="{E803815D-97A3-403D-A635-9500A706CAAA}" destId="{6589473B-5799-444D-B08B-E52E21DD5E26}" srcOrd="0" destOrd="0" parTransId="{FA1F63F9-C125-4B99-8FE0-1DA7628E920C}" sibTransId="{6DD28AC9-521D-4EF8-9957-EF02E3E89C22}"/>
    <dgm:cxn modelId="{6D0D0B47-E5CC-4FC4-9737-C7CBE3EB95B0}" type="presOf" srcId="{6589473B-5799-444D-B08B-E52E21DD5E26}" destId="{B0D8EC71-0318-42B1-88DA-DD64FF90F345}" srcOrd="0" destOrd="0" presId="urn:microsoft.com/office/officeart/2005/8/layout/hList3"/>
    <dgm:cxn modelId="{BDD15057-D246-4B80-B9EC-0CEB01E50AF7}" srcId="{6589473B-5799-444D-B08B-E52E21DD5E26}" destId="{BCBBB294-D8D9-4092-AB90-B5BE931ED4A5}" srcOrd="0" destOrd="0" parTransId="{30935619-FA7E-4970-A51D-3CAE643DAAF6}" sibTransId="{48B82EED-6A00-4A94-B7F9-54150ABFCDDB}"/>
    <dgm:cxn modelId="{FCC91C92-2AD0-40D7-A5DB-BE17AFDA5222}" type="presOf" srcId="{44E0A10B-7B98-41B5-B452-F2D013477305}" destId="{02326A27-B3D2-42D1-A9C2-4EB3CE2A4DA9}" srcOrd="0" destOrd="0" presId="urn:microsoft.com/office/officeart/2005/8/layout/hList3"/>
    <dgm:cxn modelId="{6ACA2CA3-A074-47FB-A632-A256508D6050}" type="presOf" srcId="{BCBBB294-D8D9-4092-AB90-B5BE931ED4A5}" destId="{917D74A2-BD1A-440E-BE7C-6923ECA8A1C2}" srcOrd="0" destOrd="0" presId="urn:microsoft.com/office/officeart/2005/8/layout/hList3"/>
    <dgm:cxn modelId="{A00CEFD5-5BC0-41F9-99A3-DF7BDA3EB9CE}" type="presOf" srcId="{467B04A3-D895-4536-BC98-E733D3E362C4}" destId="{E37350B9-BE9E-430C-B991-B954C9D79B6D}" srcOrd="0" destOrd="0" presId="urn:microsoft.com/office/officeart/2005/8/layout/hList3"/>
    <dgm:cxn modelId="{F1389B2B-FC6E-43BE-AA05-392D3455A466}" type="presParOf" srcId="{D22B8BB9-F405-40D0-95F8-7D60BD9ECC40}" destId="{B0D8EC71-0318-42B1-88DA-DD64FF90F345}" srcOrd="0" destOrd="0" presId="urn:microsoft.com/office/officeart/2005/8/layout/hList3"/>
    <dgm:cxn modelId="{42B436B5-D112-4A9F-A81C-8889CDD13D02}" type="presParOf" srcId="{D22B8BB9-F405-40D0-95F8-7D60BD9ECC40}" destId="{CADA22E9-01E4-4471-9B5D-299FE14C2708}" srcOrd="1" destOrd="0" presId="urn:microsoft.com/office/officeart/2005/8/layout/hList3"/>
    <dgm:cxn modelId="{4D5D6836-E853-43E1-A3E4-161C8F141BF0}" type="presParOf" srcId="{CADA22E9-01E4-4471-9B5D-299FE14C2708}" destId="{917D74A2-BD1A-440E-BE7C-6923ECA8A1C2}" srcOrd="0" destOrd="0" presId="urn:microsoft.com/office/officeart/2005/8/layout/hList3"/>
    <dgm:cxn modelId="{6DDB8828-BFBF-4034-B83E-F3726892EFC0}" type="presParOf" srcId="{CADA22E9-01E4-4471-9B5D-299FE14C2708}" destId="{E37350B9-BE9E-430C-B991-B954C9D79B6D}" srcOrd="1" destOrd="0" presId="urn:microsoft.com/office/officeart/2005/8/layout/hList3"/>
    <dgm:cxn modelId="{BF84D78B-84AD-48AD-B9CC-471247F3A901}" type="presParOf" srcId="{CADA22E9-01E4-4471-9B5D-299FE14C2708}" destId="{02326A27-B3D2-42D1-A9C2-4EB3CE2A4DA9}" srcOrd="2" destOrd="0" presId="urn:microsoft.com/office/officeart/2005/8/layout/hList3"/>
    <dgm:cxn modelId="{F264454B-8978-440E-8868-4CC8B27F1EC3}" type="presParOf" srcId="{D22B8BB9-F405-40D0-95F8-7D60BD9ECC40}" destId="{C6EDB856-EFD8-4329-A800-B224C76CC396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D7FDBB-94A5-4C1F-AA27-4C5896F11B1F}">
      <dsp:nvSpPr>
        <dsp:cNvPr id="0" name=""/>
        <dsp:cNvSpPr/>
      </dsp:nvSpPr>
      <dsp:spPr>
        <a:xfrm>
          <a:off x="623940" y="254"/>
          <a:ext cx="2175414" cy="1305248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>
              <a:latin typeface="Calibri" panose="020F0502020204030204"/>
            </a:rPr>
            <a:t>Decreased hospital’s NTSV Cesarean Section Rate</a:t>
          </a:r>
        </a:p>
      </dsp:txBody>
      <dsp:txXfrm>
        <a:off x="623940" y="254"/>
        <a:ext cx="2175414" cy="1305248"/>
      </dsp:txXfrm>
    </dsp:sp>
    <dsp:sp modelId="{06891233-DDC8-40FF-9BB8-3A848023A124}">
      <dsp:nvSpPr>
        <dsp:cNvPr id="0" name=""/>
        <dsp:cNvSpPr/>
      </dsp:nvSpPr>
      <dsp:spPr>
        <a:xfrm>
          <a:off x="3016897" y="254"/>
          <a:ext cx="2175414" cy="1305248"/>
        </a:xfrm>
        <a:prstGeom prst="rect">
          <a:avLst/>
        </a:prstGeom>
        <a:solidFill>
          <a:schemeClr val="accent1">
            <a:shade val="80000"/>
            <a:hueOff val="114050"/>
            <a:satOff val="-9682"/>
            <a:lumOff val="72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>
              <a:latin typeface="Calibri" panose="020F0502020204030204"/>
            </a:rPr>
            <a:t>Staff Education and Engagement</a:t>
          </a:r>
        </a:p>
      </dsp:txBody>
      <dsp:txXfrm>
        <a:off x="3016897" y="254"/>
        <a:ext cx="2175414" cy="1305248"/>
      </dsp:txXfrm>
    </dsp:sp>
    <dsp:sp modelId="{8BD081A0-59CC-47C3-A8A5-D1A508C66BFA}">
      <dsp:nvSpPr>
        <dsp:cNvPr id="0" name=""/>
        <dsp:cNvSpPr/>
      </dsp:nvSpPr>
      <dsp:spPr>
        <a:xfrm>
          <a:off x="623940" y="1523044"/>
          <a:ext cx="2175414" cy="1305248"/>
        </a:xfrm>
        <a:prstGeom prst="rect">
          <a:avLst/>
        </a:prstGeom>
        <a:solidFill>
          <a:schemeClr val="accent1">
            <a:shade val="80000"/>
            <a:hueOff val="228100"/>
            <a:satOff val="-19365"/>
            <a:lumOff val="1453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>
              <a:latin typeface="Calibri" panose="020F0502020204030204"/>
            </a:rPr>
            <a:t>Utilized Spinning Babies</a:t>
          </a:r>
        </a:p>
      </dsp:txBody>
      <dsp:txXfrm>
        <a:off x="623940" y="1523044"/>
        <a:ext cx="2175414" cy="1305248"/>
      </dsp:txXfrm>
    </dsp:sp>
    <dsp:sp modelId="{17D7B5B2-BD68-4DD2-AEF6-5553AF1D3781}">
      <dsp:nvSpPr>
        <dsp:cNvPr id="0" name=""/>
        <dsp:cNvSpPr/>
      </dsp:nvSpPr>
      <dsp:spPr>
        <a:xfrm>
          <a:off x="3016897" y="1523044"/>
          <a:ext cx="2175414" cy="1305248"/>
        </a:xfrm>
        <a:prstGeom prst="rect">
          <a:avLst/>
        </a:prstGeom>
        <a:solidFill>
          <a:schemeClr val="accent1">
            <a:shade val="80000"/>
            <a:hueOff val="342151"/>
            <a:satOff val="-29047"/>
            <a:lumOff val="2179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>
              <a:latin typeface="Calibri" panose="020F0502020204030204"/>
            </a:rPr>
            <a:t>Partnership between Providers and Nurses</a:t>
          </a:r>
        </a:p>
      </dsp:txBody>
      <dsp:txXfrm>
        <a:off x="3016897" y="1523044"/>
        <a:ext cx="2175414" cy="1305248"/>
      </dsp:txXfrm>
    </dsp:sp>
    <dsp:sp modelId="{6E18E0A5-FCBC-4732-9641-0CEF3CFDFAC3}">
      <dsp:nvSpPr>
        <dsp:cNvPr id="0" name=""/>
        <dsp:cNvSpPr/>
      </dsp:nvSpPr>
      <dsp:spPr>
        <a:xfrm>
          <a:off x="623940" y="3045834"/>
          <a:ext cx="2175414" cy="1305248"/>
        </a:xfrm>
        <a:prstGeom prst="rect">
          <a:avLst/>
        </a:prstGeom>
        <a:solidFill>
          <a:schemeClr val="accent1">
            <a:shade val="80000"/>
            <a:hueOff val="456201"/>
            <a:satOff val="-38730"/>
            <a:lumOff val="2906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>
              <a:latin typeface="Calibri" panose="020F0502020204030204"/>
            </a:rPr>
            <a:t>Reward and Recognize Providers and Nurses</a:t>
          </a:r>
        </a:p>
      </dsp:txBody>
      <dsp:txXfrm>
        <a:off x="623940" y="3045834"/>
        <a:ext cx="2175414" cy="1305248"/>
      </dsp:txXfrm>
    </dsp:sp>
    <dsp:sp modelId="{F1E388E0-2DC2-40A6-B7E5-2A62284561C5}">
      <dsp:nvSpPr>
        <dsp:cNvPr id="0" name=""/>
        <dsp:cNvSpPr/>
      </dsp:nvSpPr>
      <dsp:spPr>
        <a:xfrm>
          <a:off x="3016897" y="3045834"/>
          <a:ext cx="2175414" cy="1305248"/>
        </a:xfrm>
        <a:prstGeom prst="rect">
          <a:avLst/>
        </a:prstGeom>
        <a:solidFill>
          <a:schemeClr val="accent1">
            <a:shade val="80000"/>
            <a:hueOff val="570251"/>
            <a:satOff val="-48412"/>
            <a:lumOff val="3632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>
              <a:latin typeface="Calibri" panose="020F0502020204030204"/>
            </a:rPr>
            <a:t>Shared Unblinded Provider Data</a:t>
          </a:r>
        </a:p>
      </dsp:txBody>
      <dsp:txXfrm>
        <a:off x="3016897" y="3045834"/>
        <a:ext cx="2175414" cy="13052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17134F-BC95-4FBA-8E97-775708D92512}">
      <dsp:nvSpPr>
        <dsp:cNvPr id="0" name=""/>
        <dsp:cNvSpPr/>
      </dsp:nvSpPr>
      <dsp:spPr>
        <a:xfrm>
          <a:off x="558" y="414002"/>
          <a:ext cx="2176611" cy="1305966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>
              <a:latin typeface="Calibri" panose="020F0502020204030204"/>
            </a:rPr>
            <a:t>Physician Engagement and Buy-in</a:t>
          </a:r>
        </a:p>
      </dsp:txBody>
      <dsp:txXfrm>
        <a:off x="558" y="414002"/>
        <a:ext cx="2176611" cy="1305966"/>
      </dsp:txXfrm>
    </dsp:sp>
    <dsp:sp modelId="{5DDDAC32-5CB2-48A8-8D88-23528B8EDA54}">
      <dsp:nvSpPr>
        <dsp:cNvPr id="0" name=""/>
        <dsp:cNvSpPr/>
      </dsp:nvSpPr>
      <dsp:spPr>
        <a:xfrm>
          <a:off x="2394830" y="414002"/>
          <a:ext cx="2176611" cy="1305966"/>
        </a:xfrm>
        <a:prstGeom prst="rect">
          <a:avLst/>
        </a:prstGeom>
        <a:solidFill>
          <a:schemeClr val="accent2">
            <a:shade val="80000"/>
            <a:hueOff val="74257"/>
            <a:satOff val="6264"/>
            <a:lumOff val="670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>
              <a:latin typeface="Calibri" panose="020F0502020204030204"/>
            </a:rPr>
            <a:t>Checklist Utilization</a:t>
          </a:r>
        </a:p>
      </dsp:txBody>
      <dsp:txXfrm>
        <a:off x="2394830" y="414002"/>
        <a:ext cx="2176611" cy="1305966"/>
      </dsp:txXfrm>
    </dsp:sp>
    <dsp:sp modelId="{FC420FC4-7472-428B-B37A-05B445DA7A0C}">
      <dsp:nvSpPr>
        <dsp:cNvPr id="0" name=""/>
        <dsp:cNvSpPr/>
      </dsp:nvSpPr>
      <dsp:spPr>
        <a:xfrm>
          <a:off x="558" y="1937630"/>
          <a:ext cx="2176611" cy="1305966"/>
        </a:xfrm>
        <a:prstGeom prst="rect">
          <a:avLst/>
        </a:prstGeom>
        <a:solidFill>
          <a:schemeClr val="accent2">
            <a:shade val="80000"/>
            <a:hueOff val="148513"/>
            <a:satOff val="12529"/>
            <a:lumOff val="1341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>
              <a:latin typeface="Calibri" panose="020F0502020204030204"/>
            </a:rPr>
            <a:t>Huddle Utilization</a:t>
          </a:r>
        </a:p>
      </dsp:txBody>
      <dsp:txXfrm>
        <a:off x="558" y="1937630"/>
        <a:ext cx="2176611" cy="1305966"/>
      </dsp:txXfrm>
    </dsp:sp>
    <dsp:sp modelId="{D5160A29-F153-42F2-A6C7-4308E25EEDFD}">
      <dsp:nvSpPr>
        <dsp:cNvPr id="0" name=""/>
        <dsp:cNvSpPr/>
      </dsp:nvSpPr>
      <dsp:spPr>
        <a:xfrm>
          <a:off x="2394830" y="1937630"/>
          <a:ext cx="2176611" cy="1305966"/>
        </a:xfrm>
        <a:prstGeom prst="rect">
          <a:avLst/>
        </a:prstGeom>
        <a:solidFill>
          <a:schemeClr val="accent2">
            <a:shade val="80000"/>
            <a:hueOff val="222770"/>
            <a:satOff val="18793"/>
            <a:lumOff val="2012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>
              <a:latin typeface="Calibri" panose="020F0502020204030204"/>
            </a:rPr>
            <a:t>Unblinding Provider Rates</a:t>
          </a:r>
          <a:endParaRPr lang="en-US" sz="2600" kern="1200"/>
        </a:p>
      </dsp:txBody>
      <dsp:txXfrm>
        <a:off x="2394830" y="1937630"/>
        <a:ext cx="2176611" cy="130596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4656EA-6ECC-446C-B622-066CA8CC003B}">
      <dsp:nvSpPr>
        <dsp:cNvPr id="0" name=""/>
        <dsp:cNvSpPr/>
      </dsp:nvSpPr>
      <dsp:spPr>
        <a:xfrm>
          <a:off x="4327777" y="1985"/>
          <a:ext cx="4868749" cy="9552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>
              <a:latin typeface="Arial" panose="020B0604020202020204"/>
            </a:rPr>
            <a:t>Fallout Review</a:t>
          </a:r>
          <a:endParaRPr lang="en-US" sz="2200" kern="1200"/>
        </a:p>
      </dsp:txBody>
      <dsp:txXfrm>
        <a:off x="4374406" y="48614"/>
        <a:ext cx="4775491" cy="861947"/>
      </dsp:txXfrm>
    </dsp:sp>
    <dsp:sp modelId="{8D15C24A-9621-4CD6-9950-5FC0D4F1B06A}">
      <dsp:nvSpPr>
        <dsp:cNvPr id="0" name=""/>
        <dsp:cNvSpPr/>
      </dsp:nvSpPr>
      <dsp:spPr>
        <a:xfrm>
          <a:off x="4327777" y="1004951"/>
          <a:ext cx="4868749" cy="9552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ACOG/SMFM Guidelines posted</a:t>
          </a:r>
        </a:p>
      </dsp:txBody>
      <dsp:txXfrm>
        <a:off x="4374406" y="1051580"/>
        <a:ext cx="4775491" cy="861947"/>
      </dsp:txXfrm>
    </dsp:sp>
    <dsp:sp modelId="{C6F90119-B73B-45A1-8EC2-AA92EADE911B}">
      <dsp:nvSpPr>
        <dsp:cNvPr id="0" name=""/>
        <dsp:cNvSpPr/>
      </dsp:nvSpPr>
      <dsp:spPr>
        <a:xfrm>
          <a:off x="4327777" y="2007917"/>
          <a:ext cx="4868749" cy="9552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>
              <a:latin typeface="Arial" panose="020B0604020202020204"/>
            </a:rPr>
            <a:t>Use of Checklists and Huddles</a:t>
          </a:r>
          <a:endParaRPr lang="en-US" sz="2200" kern="1200"/>
        </a:p>
      </dsp:txBody>
      <dsp:txXfrm>
        <a:off x="4374406" y="2054546"/>
        <a:ext cx="4775491" cy="861947"/>
      </dsp:txXfrm>
    </dsp:sp>
    <dsp:sp modelId="{699182AC-0B7B-4992-B3AB-D36F6A375B63}">
      <dsp:nvSpPr>
        <dsp:cNvPr id="0" name=""/>
        <dsp:cNvSpPr/>
      </dsp:nvSpPr>
      <dsp:spPr>
        <a:xfrm>
          <a:off x="4327777" y="3010883"/>
          <a:ext cx="4868749" cy="9552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>
              <a:latin typeface="Arial" panose="020B0604020202020204"/>
            </a:rPr>
            <a:t>Provider and Nurse Education</a:t>
          </a:r>
          <a:endParaRPr lang="en-US" sz="2200" kern="1200"/>
        </a:p>
      </dsp:txBody>
      <dsp:txXfrm>
        <a:off x="4374406" y="3057512"/>
        <a:ext cx="4775491" cy="86194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F32960-4EEF-4D8A-BA58-58A00FB9F529}">
      <dsp:nvSpPr>
        <dsp:cNvPr id="0" name=""/>
        <dsp:cNvSpPr/>
      </dsp:nvSpPr>
      <dsp:spPr>
        <a:xfrm>
          <a:off x="656701" y="0"/>
          <a:ext cx="7442613" cy="4555591"/>
        </a:xfrm>
        <a:prstGeom prst="righ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C71145D-28EC-42AA-B504-3CB4517B2029}">
      <dsp:nvSpPr>
        <dsp:cNvPr id="0" name=""/>
        <dsp:cNvSpPr/>
      </dsp:nvSpPr>
      <dsp:spPr>
        <a:xfrm>
          <a:off x="154021" y="1366677"/>
          <a:ext cx="4117208" cy="1822236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>
              <a:solidFill>
                <a:schemeClr val="bg1"/>
              </a:solidFill>
              <a:latin typeface="Calibri"/>
              <a:cs typeface="Calibri"/>
            </a:rPr>
            <a:t>Teams still working to reduce their NTSV C-Section Rate will participate in small group coaching</a:t>
          </a:r>
        </a:p>
      </dsp:txBody>
      <dsp:txXfrm>
        <a:off x="242975" y="1455631"/>
        <a:ext cx="3939300" cy="1644328"/>
      </dsp:txXfrm>
    </dsp:sp>
    <dsp:sp modelId="{60BD5468-1F51-4C7E-8BF8-5218507C84A3}">
      <dsp:nvSpPr>
        <dsp:cNvPr id="0" name=""/>
        <dsp:cNvSpPr/>
      </dsp:nvSpPr>
      <dsp:spPr>
        <a:xfrm>
          <a:off x="4484786" y="1366677"/>
          <a:ext cx="4117208" cy="1822236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>
              <a:solidFill>
                <a:schemeClr val="bg1"/>
              </a:solidFill>
              <a:latin typeface="Arial"/>
            </a:rPr>
            <a:t>Teams who have achieved an NTSV C-Section Rate below 23.6% will be moving into sustainability</a:t>
          </a:r>
          <a:endParaRPr lang="en-US" sz="2500" kern="1200" dirty="0">
            <a:solidFill>
              <a:schemeClr val="bg1"/>
            </a:solidFill>
          </a:endParaRPr>
        </a:p>
      </dsp:txBody>
      <dsp:txXfrm>
        <a:off x="4573740" y="1455631"/>
        <a:ext cx="3939300" cy="164432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D8EC71-0318-42B1-88DA-DD64FF90F345}">
      <dsp:nvSpPr>
        <dsp:cNvPr id="0" name=""/>
        <dsp:cNvSpPr/>
      </dsp:nvSpPr>
      <dsp:spPr>
        <a:xfrm>
          <a:off x="0" y="0"/>
          <a:ext cx="7171150" cy="1238197"/>
        </a:xfrm>
        <a:prstGeom prst="rect">
          <a:avLst/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9070" tIns="179070" rIns="179070" bIns="179070" numCol="1" spcCol="1270" anchor="ctr" anchorCtr="0">
          <a:noAutofit/>
        </a:bodyPr>
        <a:lstStyle/>
        <a:p>
          <a:pPr marL="0" lvl="0" indent="0" algn="l" defTabSz="2089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700" kern="1200">
              <a:latin typeface="Calibri" panose="020F0502020204030204"/>
            </a:rPr>
            <a:t>2024 Coach Responsibilities</a:t>
          </a:r>
        </a:p>
      </dsp:txBody>
      <dsp:txXfrm>
        <a:off x="0" y="0"/>
        <a:ext cx="7171150" cy="1238197"/>
      </dsp:txXfrm>
    </dsp:sp>
    <dsp:sp modelId="{917D74A2-BD1A-440E-BE7C-6923ECA8A1C2}">
      <dsp:nvSpPr>
        <dsp:cNvPr id="0" name=""/>
        <dsp:cNvSpPr/>
      </dsp:nvSpPr>
      <dsp:spPr>
        <a:xfrm>
          <a:off x="3501" y="1238197"/>
          <a:ext cx="2388048" cy="2600215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>
              <a:solidFill>
                <a:schemeClr val="bg1"/>
              </a:solidFill>
              <a:latin typeface="Calibri" panose="020F0502020204030204"/>
            </a:rPr>
            <a:t>Attend Coaching Training Webinar and 2 Report Out meetings with ILPQC</a:t>
          </a:r>
        </a:p>
      </dsp:txBody>
      <dsp:txXfrm>
        <a:off x="3501" y="1238197"/>
        <a:ext cx="2388048" cy="2600215"/>
      </dsp:txXfrm>
    </dsp:sp>
    <dsp:sp modelId="{E37350B9-BE9E-430C-B991-B954C9D79B6D}">
      <dsp:nvSpPr>
        <dsp:cNvPr id="0" name=""/>
        <dsp:cNvSpPr/>
      </dsp:nvSpPr>
      <dsp:spPr>
        <a:xfrm>
          <a:off x="2391550" y="1238197"/>
          <a:ext cx="2388048" cy="2600215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>
              <a:latin typeface="Calibri" panose="020F0502020204030204"/>
            </a:rPr>
            <a:t>Lead quarterly coaching calls with a small group of PVB teams </a:t>
          </a:r>
        </a:p>
      </dsp:txBody>
      <dsp:txXfrm>
        <a:off x="2391550" y="1238197"/>
        <a:ext cx="2388048" cy="2600215"/>
      </dsp:txXfrm>
    </dsp:sp>
    <dsp:sp modelId="{02326A27-B3D2-42D1-A9C2-4EB3CE2A4DA9}">
      <dsp:nvSpPr>
        <dsp:cNvPr id="0" name=""/>
        <dsp:cNvSpPr/>
      </dsp:nvSpPr>
      <dsp:spPr>
        <a:xfrm>
          <a:off x="4779599" y="1238197"/>
          <a:ext cx="2388048" cy="2600215"/>
        </a:xfrm>
        <a:prstGeom prst="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>
              <a:latin typeface="Calibri" panose="020F0502020204030204"/>
            </a:rPr>
            <a:t>Attend 2-3 Hospital Key Players Meetings </a:t>
          </a:r>
        </a:p>
      </dsp:txBody>
      <dsp:txXfrm>
        <a:off x="4779599" y="1238197"/>
        <a:ext cx="2388048" cy="2600215"/>
      </dsp:txXfrm>
    </dsp:sp>
    <dsp:sp modelId="{C6EDB856-EFD8-4329-A800-B224C76CC396}">
      <dsp:nvSpPr>
        <dsp:cNvPr id="0" name=""/>
        <dsp:cNvSpPr/>
      </dsp:nvSpPr>
      <dsp:spPr>
        <a:xfrm>
          <a:off x="0" y="3838413"/>
          <a:ext cx="7171150" cy="288912"/>
        </a:xfrm>
        <a:prstGeom prst="rect">
          <a:avLst/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E7A80B-3D03-4EA0-9465-0DF0A9D99042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B47C4E-2555-48D5-B810-2EFF142F54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649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Add charity for VIP welcome</a:t>
            </a: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95211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NTSV is a component of Failed Inductions </a:t>
            </a:r>
          </a:p>
          <a:p>
            <a:endParaRPr lang="en-US">
              <a:cs typeface="Calibri"/>
            </a:endParaRPr>
          </a:p>
          <a:p>
            <a:r>
              <a:rPr lang="en-US">
                <a:cs typeface="Calibri"/>
              </a:rPr>
              <a:t>Slide not helpful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4269AA-627C-42DE-BD87-07E9A748A053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9633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spcBef>
                <a:spcPts val="1000"/>
              </a:spcBef>
              <a:buFont typeface="Arial"/>
              <a:buChar char="•"/>
            </a:pPr>
            <a:r>
              <a:rPr lang="en-US"/>
              <a:t>Teams who have maintained an NTSV C-Section Rate below 23.6% moving to sustainability</a:t>
            </a:r>
          </a:p>
          <a:p>
            <a:pPr marL="628650" lvl="1" indent="-171450">
              <a:spcBef>
                <a:spcPts val="1000"/>
              </a:spcBef>
              <a:buFont typeface="Arial"/>
              <a:buChar char="•"/>
            </a:pPr>
            <a:r>
              <a:rPr lang="en-US"/>
              <a:t>Draft your sustainability plan and submit to PNAs and ILPQC by January 31st</a:t>
            </a:r>
            <a:endParaRPr lang="en-US">
              <a:cs typeface="Calibri"/>
            </a:endParaRPr>
          </a:p>
          <a:p>
            <a:pPr marL="628650" lvl="1" indent="-171450">
              <a:spcBef>
                <a:spcPts val="1000"/>
              </a:spcBef>
              <a:buFont typeface="Arial"/>
              <a:buChar char="•"/>
            </a:pPr>
            <a:r>
              <a:rPr lang="en-US"/>
              <a:t>Reviewing your data by race, ethnicity and insurance status and addressing disparities </a:t>
            </a:r>
            <a:endParaRPr lang="en-US">
              <a:cs typeface="Calibri"/>
            </a:endParaRPr>
          </a:p>
          <a:p>
            <a:pPr marL="628650" lvl="1" indent="-171450">
              <a:spcBef>
                <a:spcPts val="1000"/>
              </a:spcBef>
              <a:buFont typeface="Arial"/>
              <a:buChar char="•"/>
            </a:pPr>
            <a:r>
              <a:rPr lang="en-US"/>
              <a:t>Attend Quarterly Sustainability Calls</a:t>
            </a:r>
            <a:endParaRPr lang="en-US">
              <a:cs typeface="Calibri"/>
            </a:endParaRPr>
          </a:p>
          <a:p>
            <a:pPr marL="171450" indent="-171450">
              <a:spcBef>
                <a:spcPts val="1000"/>
              </a:spcBef>
              <a:buFont typeface="Arial"/>
              <a:buChar char="•"/>
            </a:pPr>
            <a:r>
              <a:rPr lang="en-US"/>
              <a:t>Teams still working to reduce and maintain their NTSV C-Section Rate will be invited to participate in small group coaching </a:t>
            </a:r>
            <a:endParaRPr lang="en-US">
              <a:cs typeface="Calibri"/>
            </a:endParaRPr>
          </a:p>
          <a:p>
            <a:pPr marL="628650" lvl="1" indent="-171450">
              <a:spcBef>
                <a:spcPts val="1000"/>
              </a:spcBef>
              <a:buFont typeface="Arial"/>
              <a:buChar char="•"/>
            </a:pPr>
            <a:r>
              <a:rPr lang="en-US"/>
              <a:t>Quarterly small group coaching calls </a:t>
            </a:r>
            <a:endParaRPr lang="en-US">
              <a:cs typeface="Calibri"/>
            </a:endParaRPr>
          </a:p>
          <a:p>
            <a:pPr marL="628650" lvl="1" indent="-171450">
              <a:spcBef>
                <a:spcPts val="1000"/>
              </a:spcBef>
              <a:buFont typeface="Arial"/>
              <a:buChar char="•"/>
            </a:pPr>
            <a:r>
              <a:rPr lang="en-US"/>
              <a:t>Key Players Meetings</a:t>
            </a:r>
            <a:endParaRPr lang="en-US">
              <a:cs typeface="Calibri"/>
            </a:endParaRPr>
          </a:p>
          <a:p>
            <a:pPr marL="628650" lvl="1" indent="-171450">
              <a:spcBef>
                <a:spcPts val="1000"/>
              </a:spcBef>
              <a:buFont typeface="Arial"/>
              <a:buChar char="•"/>
            </a:pPr>
            <a:r>
              <a:rPr lang="en-US"/>
              <a:t>Individual </a:t>
            </a:r>
            <a:r>
              <a:rPr lang="en-US" err="1"/>
              <a:t>Outrea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7829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BD2D14-F0AA-2844-871F-19DB90E80350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9940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2255da36a7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9" name="Google Shape;69;g2255da36a79_0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" name="Google Shape;70;g2255da36a79_0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30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83902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BD2D14-F0AA-2844-871F-19DB90E8035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89859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2962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2427"/>
              </a:lnSpc>
              <a:spcBef>
                <a:spcPct val="0"/>
              </a:spcBef>
            </a:pPr>
            <a:r>
              <a:rPr lang="en-US" dirty="0">
                <a:ea typeface="Calibri"/>
                <a:cs typeface="Calibri"/>
              </a:rPr>
              <a:t>Data Champions: </a:t>
            </a:r>
            <a:r>
              <a:rPr lang="en-US" dirty="0"/>
              <a:t>59-PVB, 57-BE</a:t>
            </a:r>
          </a:p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744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1189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B1C258-122C-4775-B207-3DE2D949F41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55699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/>
              <a:buChar char="•"/>
              <a:defRPr/>
            </a:pPr>
            <a:r>
              <a:rPr lang="en-US"/>
              <a:t>Understand the Data</a:t>
            </a:r>
          </a:p>
          <a:p>
            <a:pPr marL="285750" indent="-285750">
              <a:buFont typeface="Arial"/>
              <a:buChar char="•"/>
              <a:defRPr/>
            </a:pPr>
            <a:r>
              <a:rPr lang="en-US"/>
              <a:t>Identify the Disparities</a:t>
            </a:r>
            <a:endParaRPr lang="en-US">
              <a:cs typeface="Calibri"/>
            </a:endParaRPr>
          </a:p>
          <a:p>
            <a:pPr marL="285750" indent="-285750">
              <a:buFont typeface="Arial"/>
              <a:buChar char="•"/>
              <a:defRPr/>
            </a:pPr>
            <a:r>
              <a:rPr lang="en-US"/>
              <a:t>Actively listen</a:t>
            </a:r>
            <a:endParaRPr lang="en-US">
              <a:cs typeface="Calibri"/>
            </a:endParaRPr>
          </a:p>
          <a:p>
            <a:pPr marL="285750" indent="-285750">
              <a:buFont typeface="Arial"/>
              <a:buChar char="•"/>
              <a:defRPr/>
            </a:pPr>
            <a:r>
              <a:rPr lang="en-US"/>
              <a:t>Engage patient/community partners</a:t>
            </a:r>
            <a:endParaRPr lang="en-US">
              <a:cs typeface="Calibri"/>
            </a:endParaRPr>
          </a:p>
          <a:p>
            <a:pPr marL="285750" indent="-285750">
              <a:buFont typeface="Arial"/>
              <a:buChar char="•"/>
              <a:defRPr/>
            </a:pPr>
            <a:r>
              <a:rPr lang="en-US"/>
              <a:t>Expand access to community doulas and improve shared decision making and respectful care</a:t>
            </a:r>
            <a:endParaRPr lang="en-US"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cs typeface="Calibri"/>
              </a:rPr>
              <a:t>Connect your clinical team</a:t>
            </a: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B1C258-122C-4775-B207-3DE2D949F41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8939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4269AA-627C-42DE-BD87-07E9A748A053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5058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4269AA-627C-42DE-BD87-07E9A748A053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565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4.emf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3.emf"/><Relationship Id="rId5" Type="http://schemas.openxmlformats.org/officeDocument/2006/relationships/image" Target="../media/image52.emf"/><Relationship Id="rId4" Type="http://schemas.openxmlformats.org/officeDocument/2006/relationships/oleObject" Target="../embeddings/oleObject1.bin"/></Relationships>
</file>

<file path=ppt/slideLayouts/_rels/slideLayout3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tags" Target="../tags/tag7.xml"/><Relationship Id="rId7" Type="http://schemas.openxmlformats.org/officeDocument/2006/relationships/oleObject" Target="../embeddings/oleObject3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3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tags" Target="../tags/tag9.xml"/><Relationship Id="rId7" Type="http://schemas.openxmlformats.org/officeDocument/2006/relationships/oleObject" Target="../embeddings/oleObject5.bin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4.emf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3.emf"/><Relationship Id="rId5" Type="http://schemas.openxmlformats.org/officeDocument/2006/relationships/image" Target="../media/image52.emf"/><Relationship Id="rId4" Type="http://schemas.openxmlformats.org/officeDocument/2006/relationships/oleObject" Target="../embeddings/oleObject6.bin"/></Relationships>
</file>

<file path=ppt/slideLayouts/_rels/slideLayout3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8.bin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1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1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1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1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1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1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1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1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Master" Target="../slideMasters/slideMaster2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Master" Target="../slideMasters/slideMaster2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7" Type="http://schemas.microsoft.com/office/2007/relationships/hdphoto" Target="../media/hdphoto1.wdp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Relationship Id="rId6" Type="http://schemas.openxmlformats.org/officeDocument/2006/relationships/image" Target="../media/image88.png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7" Type="http://schemas.microsoft.com/office/2007/relationships/hdphoto" Target="../media/hdphoto1.wdp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6" Type="http://schemas.openxmlformats.org/officeDocument/2006/relationships/image" Target="../media/image88.png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4" Type="http://schemas.microsoft.com/office/2007/relationships/hdphoto" Target="../media/hdphoto2.wdp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4" Type="http://schemas.microsoft.com/office/2007/relationships/hdphoto" Target="../media/hdphoto2.wdp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4" Type="http://schemas.microsoft.com/office/2007/relationships/hdphoto" Target="../media/hdphoto2.wdp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8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9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4.xml"/><Relationship Id="rId4" Type="http://schemas.microsoft.com/office/2007/relationships/hdphoto" Target="../media/hdphoto2.wdp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6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7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8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9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0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1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2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3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5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6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7.xml"/><Relationship Id="rId4" Type="http://schemas.microsoft.com/office/2007/relationships/hdphoto" Target="../media/hdphoto2.wdp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8.xml"/><Relationship Id="rId4" Type="http://schemas.microsoft.com/office/2007/relationships/hdphoto" Target="../media/hdphoto2.wdp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svg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svg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9.svg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svg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9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9.svg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9.svg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svg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svg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7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7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7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7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7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7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4.emf"/><Relationship Id="rId2" Type="http://schemas.openxmlformats.org/officeDocument/2006/relationships/tags" Target="../tags/tag6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3.emf"/><Relationship Id="rId5" Type="http://schemas.openxmlformats.org/officeDocument/2006/relationships/image" Target="../media/image52.emf"/><Relationship Id="rId4" Type="http://schemas.openxmlformats.org/officeDocument/2006/relationships/oleObject" Target="../embeddings/oleObject9.bin"/></Relationships>
</file>

<file path=ppt/slideLayouts/_rels/slideLayout5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3" Type="http://schemas.openxmlformats.org/officeDocument/2006/relationships/tags" Target="../tags/tag6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6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7.xml"/></Relationships>
</file>

<file path=ppt/slideLayouts/_rels/slideLayout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7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8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8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8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8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8.xml"/></Relationships>
</file>

<file path=ppt/slideLayouts/_rels/slideLayout5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8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8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5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5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5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5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5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5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9.svg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9.svg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5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5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6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6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6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6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6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6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6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6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6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6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9.svg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6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9.svg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6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6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6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6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6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3.xml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4.xml"/></Relationships>
</file>

<file path=ppt/slideLayouts/_rels/slideLayout6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6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6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6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6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6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6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/Relationships>
</file>

<file path=ppt/slideLayouts/_rels/slideLayout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9.xml"/></Relationships>
</file>

<file path=ppt/slideLayouts/_rels/slideLayout6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9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9.xml"/></Relationships>
</file>

<file path=ppt/slideLayouts/_rels/slideLayout7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9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9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9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9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9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9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9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9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9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9.xml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9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9.xml"/></Relationships>
</file>

<file path=ppt/slideLayouts/_rels/slideLayout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9.xml"/></Relationships>
</file>

<file path=ppt/slideLayouts/_rels/slideLayout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9.xml"/></Relationships>
</file>

<file path=ppt/slideLayouts/_rels/slideLayout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7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7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7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7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54.emf"/><Relationship Id="rId2" Type="http://schemas.openxmlformats.org/officeDocument/2006/relationships/tags" Target="../tags/tag6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3.emf"/><Relationship Id="rId5" Type="http://schemas.openxmlformats.org/officeDocument/2006/relationships/image" Target="../media/image52.emf"/><Relationship Id="rId4" Type="http://schemas.openxmlformats.org/officeDocument/2006/relationships/oleObject" Target="../embeddings/oleObject12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7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3" Type="http://schemas.openxmlformats.org/officeDocument/2006/relationships/tags" Target="../tags/tag67.xml"/><Relationship Id="rId7" Type="http://schemas.openxmlformats.org/officeDocument/2006/relationships/oleObject" Target="../embeddings/oleObject14.bin"/><Relationship Id="rId2" Type="http://schemas.openxmlformats.org/officeDocument/2006/relationships/tags" Target="../tags/tag6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9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7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9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9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9.xml"/></Relationships>
</file>

<file path=ppt/slideLayouts/_rels/slideLayout7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9.xml"/></Relationships>
</file>

<file path=ppt/slideLayouts/_rels/slideLayout7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9.xml"/></Relationships>
</file>

<file path=ppt/slideLayouts/_rels/slideLayout7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9.xml"/></Relationships>
</file>

<file path=ppt/slideLayouts/_rels/slideLayout7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9.xml"/></Relationships>
</file>

<file path=ppt/slideLayouts/_rels/slideLayout7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9.xml"/></Relationships>
</file>

<file path=ppt/slideLayouts/_rels/slideLayout7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9.xml"/></Relationships>
</file>

<file path=ppt/slideLayouts/_rels/slideLayout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9.xml"/></Relationships>
</file>

<file path=ppt/slideLayouts/_rels/slideLayout7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tags" Target="../tags/tag69.xml"/><Relationship Id="rId7" Type="http://schemas.openxmlformats.org/officeDocument/2006/relationships/oleObject" Target="../embeddings/oleObject16.bin"/><Relationship Id="rId2" Type="http://schemas.openxmlformats.org/officeDocument/2006/relationships/tags" Target="../tags/tag6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9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9.xml"/></Relationships>
</file>

<file path=ppt/slideLayouts/_rels/slideLayout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9.xml"/></Relationships>
</file>

<file path=ppt/slideLayouts/_rels/slideLayout7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9.xml"/></Relationships>
</file>

<file path=ppt/slideLayouts/_rels/slideLayout7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9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7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7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7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7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0.xml"/></Relationships>
</file>

<file path=ppt/slideLayouts/_rels/slideLayout7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7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7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7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7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9.svg"/></Relationships>
</file>

<file path=ppt/slideLayouts/_rels/slideLayout7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7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7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7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7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7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9.svg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57221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54907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929533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6742148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31436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0357277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69051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5116221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2338684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68831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2063742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14946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79889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0444802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7833896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917001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51638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078311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59957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833780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686779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11/27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52602547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11/27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3719964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3" t="41308" r="41308" b="44537"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68E7E05-5EEE-41D8-B522-A98D6D554E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1520" y="475249"/>
            <a:ext cx="10728960" cy="23876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324B25E2-70EF-4C17-BC63-4624D9A0F2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71"/>
            <a:ext cx="12192000" cy="6855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605410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1520" y="475249"/>
            <a:ext cx="10728960" cy="238760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0279" y="3250348"/>
            <a:ext cx="10691445" cy="1138775"/>
          </a:xfrm>
        </p:spPr>
        <p:txBody>
          <a:bodyPr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50000"/>
                  </a:schemeClr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B727E-5B2C-4310-AB66-CE5561C8F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102178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465" y="1575583"/>
            <a:ext cx="11163875" cy="4601381"/>
          </a:xfrm>
        </p:spPr>
        <p:txBody>
          <a:bodyPr/>
          <a:lstStyle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B727E-5B2C-4310-AB66-CE5561C8F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553549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463" y="1574802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574802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B727E-5B2C-4310-AB66-CE5561C8F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49282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B727E-5B2C-4310-AB66-CE5561C8F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985792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B727E-5B2C-4310-AB66-CE5561C8F44D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943CB561-5AED-42CE-B21C-0F4C3E0068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71"/>
            <a:ext cx="12192000" cy="6855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674719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A3686E6-74E2-FE49-AAC4-953D01F3F562}"/>
              </a:ext>
            </a:extLst>
          </p:cNvPr>
          <p:cNvCxnSpPr/>
          <p:nvPr userDrawn="1"/>
        </p:nvCxnSpPr>
        <p:spPr>
          <a:xfrm>
            <a:off x="1520055" y="3507988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433701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9CB564A-C69C-944C-96FC-5B26C4A43C4A}"/>
              </a:ext>
            </a:extLst>
          </p:cNvPr>
          <p:cNvCxnSpPr/>
          <p:nvPr userDrawn="1"/>
        </p:nvCxnSpPr>
        <p:spPr>
          <a:xfrm>
            <a:off x="1520055" y="2811818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3664284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03655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675467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977E4BD-558F-4F49-BCCC-8097ACDB3950}"/>
              </a:ext>
            </a:extLst>
          </p:cNvPr>
          <p:cNvCxnSpPr/>
          <p:nvPr userDrawn="1"/>
        </p:nvCxnSpPr>
        <p:spPr>
          <a:xfrm>
            <a:off x="704314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04767307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854FD4E-2BB6-AE40-B89B-76CA55068800}"/>
              </a:ext>
            </a:extLst>
          </p:cNvPr>
          <p:cNvCxnSpPr/>
          <p:nvPr userDrawn="1"/>
        </p:nvCxnSpPr>
        <p:spPr>
          <a:xfrm>
            <a:off x="704314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78579581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rm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rm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06860712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BD2A368-37B4-AE41-8927-00C94D6431A1}"/>
              </a:ext>
            </a:extLst>
          </p:cNvPr>
          <p:cNvCxnSpPr/>
          <p:nvPr userDrawn="1"/>
        </p:nvCxnSpPr>
        <p:spPr>
          <a:xfrm>
            <a:off x="707293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4151293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3A1B7DC-DAD7-F944-AC53-2FDB50DEA0A1}"/>
              </a:ext>
            </a:extLst>
          </p:cNvPr>
          <p:cNvCxnSpPr>
            <a:cxnSpLocks/>
          </p:cNvCxnSpPr>
          <p:nvPr userDrawn="1"/>
        </p:nvCxnSpPr>
        <p:spPr>
          <a:xfrm>
            <a:off x="1325946" y="3080084"/>
            <a:ext cx="685399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1219200" y="1887490"/>
            <a:ext cx="5582652" cy="1078262"/>
          </a:xfrm>
        </p:spPr>
        <p:txBody>
          <a:bodyPr>
            <a:norm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4585257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90329319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9A3468E-DF1F-A142-9123-E9C41E669E14}"/>
              </a:ext>
            </a:extLst>
          </p:cNvPr>
          <p:cNvCxnSpPr/>
          <p:nvPr userDrawn="1"/>
        </p:nvCxnSpPr>
        <p:spPr>
          <a:xfrm>
            <a:off x="620093" y="5141451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4268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797758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83427" y="0"/>
            <a:ext cx="8708572" cy="68580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B30560D-B22A-C84C-AFB9-ABF9CC99295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F767A9D6-6AD3-1043-89D5-6EF03236EE7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2" y="6230112"/>
            <a:ext cx="4107180" cy="32004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F94C27E-E772-436F-8230-475A034DAF1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1" y="515392"/>
            <a:ext cx="2745760" cy="391893"/>
          </a:xfrm>
          <a:prstGeom prst="rect">
            <a:avLst/>
          </a:prstGeom>
        </p:spPr>
      </p:pic>
      <p:sp>
        <p:nvSpPr>
          <p:cNvPr id="9" name="Title 16">
            <a:extLst>
              <a:ext uri="{FF2B5EF4-FFF2-40B4-BE49-F238E27FC236}">
                <a16:creationId xmlns:a16="http://schemas.microsoft.com/office/drawing/2014/main" id="{1CE71E58-18E9-49FF-95D7-75AA3860A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48" y="2997501"/>
            <a:ext cx="5944640" cy="11681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288357E0-D976-46AD-BA13-D01AE336E1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4448" y="4232821"/>
            <a:ext cx="3740149" cy="56038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 Title/Da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6013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20">
          <p15:clr>
            <a:srgbClr val="FBAE40"/>
          </p15:clr>
        </p15:guide>
      </p15:sldGuideLst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2744" y="0"/>
            <a:ext cx="10929257" cy="68580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B30560D-B22A-C84C-AFB9-ABF9CC99295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F767A9D6-6AD3-1043-89D5-6EF03236EE7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2" y="6230112"/>
            <a:ext cx="4107180" cy="32004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F94C27E-E772-436F-8230-475A034DAF1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1" y="515392"/>
            <a:ext cx="2745760" cy="391893"/>
          </a:xfrm>
          <a:prstGeom prst="rect">
            <a:avLst/>
          </a:prstGeom>
        </p:spPr>
      </p:pic>
      <p:sp>
        <p:nvSpPr>
          <p:cNvPr id="9" name="Title 16">
            <a:extLst>
              <a:ext uri="{FF2B5EF4-FFF2-40B4-BE49-F238E27FC236}">
                <a16:creationId xmlns:a16="http://schemas.microsoft.com/office/drawing/2014/main" id="{1CE71E58-18E9-49FF-95D7-75AA3860A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48" y="2997501"/>
            <a:ext cx="5944640" cy="11681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288357E0-D976-46AD-BA13-D01AE336E1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4448" y="4232821"/>
            <a:ext cx="3740149" cy="56038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 Title/Da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7364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20">
          <p15:clr>
            <a:srgbClr val="FBAE40"/>
          </p15:clr>
        </p15:guide>
      </p15:sldGuideLst>
    </p:ext>
  </p:extLs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3396" y="0"/>
            <a:ext cx="6079113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2B0DAA2-ED34-DD48-9888-1BBD9910AF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393" y="0"/>
            <a:ext cx="12192000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86D2FC9-B51C-8E46-8330-3F5C5735875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802" y="515244"/>
            <a:ext cx="2759796" cy="394514"/>
          </a:xfrm>
          <a:prstGeom prst="rect">
            <a:avLst/>
          </a:prstGeom>
        </p:spPr>
      </p:pic>
      <p:sp>
        <p:nvSpPr>
          <p:cNvPr id="13" name="Title 16">
            <a:extLst>
              <a:ext uri="{FF2B5EF4-FFF2-40B4-BE49-F238E27FC236}">
                <a16:creationId xmlns:a16="http://schemas.microsoft.com/office/drawing/2014/main" id="{A0F429E6-236C-C84C-8DE0-0603B26A5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48" y="3003228"/>
            <a:ext cx="5944640" cy="116811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25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171459F2-521D-8649-BD87-CA1F69DC8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4448" y="4131582"/>
            <a:ext cx="3740149" cy="560388"/>
          </a:xfrm>
        </p:spPr>
        <p:txBody>
          <a:bodyPr anchor="t"/>
          <a:lstStyle>
            <a:lvl1pPr marL="0" indent="0">
              <a:buNone/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en-US"/>
              <a:t>Sub Title/Dat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EE528CD-87A3-7F4F-B8C5-8BA0536369B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biLevel thresh="7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3" y="6230112"/>
            <a:ext cx="3684013" cy="2870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95570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20">
          <p15:clr>
            <a:srgbClr val="FBAE40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2B0DAA2-ED34-DD48-9888-1BBD9910AF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86D2FC9-B51C-8E46-8330-3F5C5735875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802" y="515244"/>
            <a:ext cx="2759796" cy="394514"/>
          </a:xfrm>
          <a:prstGeom prst="rect">
            <a:avLst/>
          </a:prstGeom>
        </p:spPr>
      </p:pic>
      <p:sp>
        <p:nvSpPr>
          <p:cNvPr id="13" name="Title 16">
            <a:extLst>
              <a:ext uri="{FF2B5EF4-FFF2-40B4-BE49-F238E27FC236}">
                <a16:creationId xmlns:a16="http://schemas.microsoft.com/office/drawing/2014/main" id="{A0F429E6-236C-C84C-8DE0-0603B26A5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48" y="3003228"/>
            <a:ext cx="5944640" cy="116811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25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171459F2-521D-8649-BD87-CA1F69DC8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4448" y="4131582"/>
            <a:ext cx="3740149" cy="560388"/>
          </a:xfrm>
        </p:spPr>
        <p:txBody>
          <a:bodyPr anchor="t"/>
          <a:lstStyle>
            <a:lvl1pPr marL="0" indent="0">
              <a:buNone/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en-US"/>
              <a:t>Sub Title/Dat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EE528CD-87A3-7F4F-B8C5-8BA0536369B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biLevel thresh="7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3" y="6230112"/>
            <a:ext cx="3684013" cy="2870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2378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20">
          <p15:clr>
            <a:srgbClr val="FBAE40"/>
          </p15:clr>
        </p15:guide>
      </p15:sldGuideLst>
    </p:ext>
  </p:extLs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AGE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4C71BB1-9FDA-FD43-ABCF-0E1CBF9339EF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7956D00C-F9B1-A148-A629-18366F705E1D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B3B2E306-4BAC-E74F-AAF1-3A3FFDADD8C7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6" name="Shape">
            <a:extLst>
              <a:ext uri="{FF2B5EF4-FFF2-40B4-BE49-F238E27FC236}">
                <a16:creationId xmlns:a16="http://schemas.microsoft.com/office/drawing/2014/main" id="{5CE8CCFA-519E-854E-BAFF-171A193655DC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45C6D3C-FD35-9740-BCC6-7F1FD78E6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Slide Number Placeholder 6">
            <a:extLst>
              <a:ext uri="{FF2B5EF4-FFF2-40B4-BE49-F238E27FC236}">
                <a16:creationId xmlns:a16="http://schemas.microsoft.com/office/drawing/2014/main" id="{72038E76-D90C-D142-9106-42EAF6B069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B43793-C35B-B54E-ADE4-3AA97F58557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88551848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FFDA2CE-0174-7748-9A5A-EBA28137D1AF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3" y="1312662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2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334836" y="2839212"/>
            <a:ext cx="3803904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14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027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039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053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Shape">
            <a:extLst>
              <a:ext uri="{FF2B5EF4-FFF2-40B4-BE49-F238E27FC236}">
                <a16:creationId xmlns:a16="http://schemas.microsoft.com/office/drawing/2014/main" id="{D320A928-0C1B-1F43-B7DD-5C839EC114FF}"/>
              </a:ext>
            </a:extLst>
          </p:cNvPr>
          <p:cNvSpPr/>
          <p:nvPr/>
        </p:nvSpPr>
        <p:spPr>
          <a:xfrm>
            <a:off x="0" y="4389120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Shape">
            <a:extLst>
              <a:ext uri="{FF2B5EF4-FFF2-40B4-BE49-F238E27FC236}">
                <a16:creationId xmlns:a16="http://schemas.microsoft.com/office/drawing/2014/main" id="{BEDE0841-3D72-FA4C-A1A7-2242BAFFE9DD}"/>
              </a:ext>
            </a:extLst>
          </p:cNvPr>
          <p:cNvSpPr/>
          <p:nvPr/>
        </p:nvSpPr>
        <p:spPr>
          <a:xfrm>
            <a:off x="0" y="4937638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25CD84F4-8F1D-DD42-968A-B672E7F51961}"/>
              </a:ext>
            </a:extLst>
          </p:cNvPr>
          <p:cNvSpPr/>
          <p:nvPr/>
        </p:nvSpPr>
        <p:spPr>
          <a:xfrm>
            <a:off x="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D377CDD-EAE2-9246-B70E-79B86CFA734C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0FA9D0E6-6028-A84B-AB32-68D8B21955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23F78CE-3476-2443-BDB8-A5DC730980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18853" y="1312663"/>
            <a:ext cx="5043465" cy="4402338"/>
          </a:xfrm>
        </p:spPr>
        <p:txBody>
          <a:bodyPr/>
          <a:lstStyle>
            <a:lvl1pPr marL="257175" indent="-257175">
              <a:spcAft>
                <a:spcPts val="450"/>
              </a:spcAft>
              <a:buClr>
                <a:schemeClr val="accent1"/>
              </a:buClr>
              <a:buFont typeface="+mj-lt"/>
              <a:buAutoNum type="arabicPeriod"/>
              <a:defRPr/>
            </a:lvl1pPr>
            <a:lvl2pPr>
              <a:spcAft>
                <a:spcPts val="450"/>
              </a:spcAft>
              <a:buClr>
                <a:schemeClr val="accent1"/>
              </a:buClr>
              <a:defRPr/>
            </a:lvl2pPr>
            <a:lvl3pPr>
              <a:spcAft>
                <a:spcPts val="450"/>
              </a:spcAft>
              <a:buClr>
                <a:schemeClr val="accent1"/>
              </a:buClr>
              <a:defRPr/>
            </a:lvl3pPr>
            <a:lvl4pPr>
              <a:spcAft>
                <a:spcPts val="450"/>
              </a:spcAft>
              <a:buClr>
                <a:schemeClr val="accent1"/>
              </a:buClr>
              <a:defRPr/>
            </a:lvl4pPr>
            <a:lvl5pPr>
              <a:spcAft>
                <a:spcPts val="450"/>
              </a:spcAft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0582169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DAY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DE93D0-CD47-FB4F-9C4D-1DDEF9A47153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FF4098C8-B27B-E742-AF2B-FAACE164FD8F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A4250A6A-5DB7-464A-85EB-7072B0934882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2" y="1707786"/>
            <a:ext cx="5587460" cy="4502514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1146"/>
            <a:ext cx="114300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AA86664-C997-D14C-B7C0-E61F5A648C1E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BBD83AB6-A541-9442-AB6B-F50F88754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929B619-337D-A14C-B213-5A943A5F12B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636C7CF-7824-E34B-9E97-6F3B67C700BD}"/>
              </a:ext>
            </a:extLst>
          </p:cNvPr>
          <p:cNvSpPr txBox="1"/>
          <p:nvPr/>
        </p:nvSpPr>
        <p:spPr>
          <a:xfrm>
            <a:off x="12987131" y="2623930"/>
            <a:ext cx="0" cy="0"/>
          </a:xfrm>
          <a:prstGeom prst="rect">
            <a:avLst/>
          </a:prstGeom>
        </p:spPr>
        <p:txBody>
          <a:bodyPr wrap="none" lIns="91402" tIns="45700" rIns="91402" bIns="45700" rtlCol="0" anchor="t">
            <a:noAutofit/>
          </a:bodyPr>
          <a:lstStyle/>
          <a:p>
            <a:pPr marL="0" indent="0" algn="l">
              <a:spcBef>
                <a:spcPts val="0"/>
              </a:spcBef>
            </a:pPr>
            <a:endParaRPr lang="en-US" sz="1050" err="1"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4746560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502514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36974451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day with Graphic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8540" y="1707786"/>
            <a:ext cx="11203664" cy="1367108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idx="12"/>
          </p:nvPr>
        </p:nvSpPr>
        <p:spPr>
          <a:xfrm>
            <a:off x="508540" y="3272118"/>
            <a:ext cx="11203664" cy="293818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27645352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DAY - COMPARIS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1F47A73-2BE8-41B4-902F-DCDFA8A9A9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9" y="2491915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1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84F6D6-CCC2-4F2B-9E4C-A982785D10B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1" y="2491916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1125053-4680-DF45-BEF0-3F90988C5E8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495283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OUBL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E4E5B-D651-7346-8745-F2B732325A2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728A7FC-5A11-6D41-AD52-BFF68FBD05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19E5391-D124-40A4-8075-7CC4DBBC44E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84260" y="1746250"/>
            <a:ext cx="5249333" cy="4464050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251274" indent="0">
              <a:buNone/>
              <a:defRPr sz="1050"/>
            </a:lvl2pPr>
            <a:lvl3pPr marL="502547" indent="0">
              <a:buNone/>
              <a:defRPr sz="1050"/>
            </a:lvl3pPr>
            <a:lvl4pPr marL="753819" indent="0">
              <a:buNone/>
              <a:defRPr sz="1050"/>
            </a:lvl4pPr>
            <a:lvl5pPr marL="1005093" indent="0">
              <a:buNone/>
              <a:defRPr sz="105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65807AD6-4C72-4732-8C27-63843CD1B35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58411" y="1746250"/>
            <a:ext cx="5249333" cy="4464050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251274" indent="0">
              <a:buNone/>
              <a:defRPr sz="1050"/>
            </a:lvl2pPr>
            <a:lvl3pPr marL="502547" indent="0">
              <a:buNone/>
              <a:defRPr sz="1050"/>
            </a:lvl3pPr>
            <a:lvl4pPr marL="753819" indent="0">
              <a:buNone/>
              <a:defRPr sz="1050"/>
            </a:lvl4pPr>
            <a:lvl5pPr marL="1005093" indent="0">
              <a:buNone/>
              <a:defRPr sz="105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8590103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UBTITLE + 4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1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2121CD1-D059-4749-9048-A950DAE4F4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0791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584C210-7A6A-4E72-A342-49A9C6C91B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9" y="24919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F5066B-E6D2-49CE-BA01-EA21C96175F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1" y="24919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9517CEC9-5F44-4399-A636-908D6B727EE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4739" y="4424558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B0C878EC-937E-4122-9875-59BA786C2387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00791" y="4424558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EE2593-7D67-AC40-9D1F-A839338985C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F178F9-97EC-8F45-B9D0-BF5A7BF17B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25024563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UBTITLE + 4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1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2121CD1-D059-4749-9048-A950DAE4F4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0791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584C210-7A6A-4E72-A342-49A9C6C91B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9" y="24919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F5066B-E6D2-49CE-BA01-EA21C96175F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1" y="24919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EE2593-7D67-AC40-9D1F-A839338985C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F178F9-97EC-8F45-B9D0-BF5A7BF17B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0B8DB71-5DF2-C04E-AF83-DBF86D30767B}"/>
              </a:ext>
            </a:extLst>
          </p:cNvPr>
          <p:cNvGrpSpPr/>
          <p:nvPr/>
        </p:nvGrpSpPr>
        <p:grpSpPr>
          <a:xfrm>
            <a:off x="1634604" y="3895712"/>
            <a:ext cx="8922792" cy="0"/>
            <a:chOff x="1277233" y="3895712"/>
            <a:chExt cx="6692094" cy="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6BE41B89-C55A-B946-AC8C-237DD1B55C0D}"/>
                </a:ext>
              </a:extLst>
            </p:cNvPr>
            <p:cNvCxnSpPr>
              <a:cxnSpLocks/>
            </p:cNvCxnSpPr>
            <p:nvPr/>
          </p:nvCxnSpPr>
          <p:spPr>
            <a:xfrm>
              <a:off x="1277233" y="3895712"/>
              <a:ext cx="2858406" cy="0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12DCBAA8-2FE7-5E48-9235-4E3273ED62B1}"/>
                </a:ext>
              </a:extLst>
            </p:cNvPr>
            <p:cNvCxnSpPr>
              <a:cxnSpLocks/>
            </p:cNvCxnSpPr>
            <p:nvPr/>
          </p:nvCxnSpPr>
          <p:spPr>
            <a:xfrm>
              <a:off x="5064082" y="3895712"/>
              <a:ext cx="2905245" cy="0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63F3587-18B6-9946-BD15-07078823973B}"/>
              </a:ext>
            </a:extLst>
          </p:cNvPr>
          <p:cNvCxnSpPr>
            <a:cxnSpLocks/>
          </p:cNvCxnSpPr>
          <p:nvPr/>
        </p:nvCxnSpPr>
        <p:spPr>
          <a:xfrm>
            <a:off x="6096000" y="1871356"/>
            <a:ext cx="0" cy="1704515"/>
          </a:xfrm>
          <a:prstGeom prst="line">
            <a:avLst/>
          </a:prstGeom>
          <a:ln w="19050" cap="rnd">
            <a:solidFill>
              <a:schemeClr val="accent2"/>
            </a:solidFill>
            <a:prstDash val="soli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CEF27BE-3AF2-DF44-B04F-E2891E3A5DDC}"/>
              </a:ext>
            </a:extLst>
          </p:cNvPr>
          <p:cNvCxnSpPr>
            <a:cxnSpLocks/>
          </p:cNvCxnSpPr>
          <p:nvPr/>
        </p:nvCxnSpPr>
        <p:spPr>
          <a:xfrm>
            <a:off x="6096000" y="4313174"/>
            <a:ext cx="0" cy="1704515"/>
          </a:xfrm>
          <a:prstGeom prst="line">
            <a:avLst/>
          </a:prstGeom>
          <a:ln w="19050" cap="rnd">
            <a:solidFill>
              <a:schemeClr val="accent2"/>
            </a:solidFill>
            <a:prstDash val="soli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D0B0D022-0F2D-7345-A71D-90A9D84D818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4739" y="44223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43FF5A2-AC55-D742-8EBC-7DD6A02B5174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00791" y="44223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4405481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UBTITLE + 3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1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95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1FBFF86A-55FF-4667-A474-410A55DE52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9" y="2491916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C3628C1-6684-4037-A95B-E7C3A7E444A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1" y="2491916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F356DB6-8ABE-49EB-B67F-F69F8892596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469538" y="4429203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8732566-D1B1-2646-BB74-04F2A6A6BF6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51157B3-F0D7-964E-A2D9-4D0068EAC7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0529116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STITUTE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502514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9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5050703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STITUTE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2" y="1707786"/>
            <a:ext cx="5278596" cy="4502514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9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7B4B9-C2E5-584C-A6FD-1E6E7F8D1E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24203" y="1708150"/>
            <a:ext cx="5588000" cy="45021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231405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/>
        </p:nvSpPr>
        <p:spPr>
          <a:xfrm>
            <a:off x="609600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BC9E4E-DC08-F04A-907F-38011949DD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" y="0"/>
            <a:ext cx="6095999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1575737-3A06-C042-B28A-86B83C3E21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750" y="502412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2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07172E8-0BD8-F544-908A-019163C1B57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30836" y="1888744"/>
            <a:ext cx="5273485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14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027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039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053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0A428D6A-B377-6F43-BA57-D036EAC6A5C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30435" y="2925064"/>
            <a:ext cx="5273887" cy="3069336"/>
          </a:xfrm>
        </p:spPr>
        <p:txBody>
          <a:bodyPr>
            <a:noAutofit/>
          </a:bodyPr>
          <a:lstStyle>
            <a:lvl1pPr marL="90488" indent="-90488">
              <a:tabLst/>
              <a:defRPr sz="1050">
                <a:solidFill>
                  <a:schemeClr val="bg1"/>
                </a:solidFill>
              </a:defRPr>
            </a:lvl1pPr>
            <a:lvl2pPr>
              <a:defRPr sz="1050">
                <a:solidFill>
                  <a:schemeClr val="tx1"/>
                </a:solidFill>
              </a:defRPr>
            </a:lvl2pPr>
            <a:lvl3pPr>
              <a:defRPr sz="1050">
                <a:solidFill>
                  <a:schemeClr val="tx1"/>
                </a:solidFill>
              </a:defRPr>
            </a:lvl3pPr>
            <a:lvl4pPr>
              <a:defRPr sz="1050">
                <a:solidFill>
                  <a:schemeClr val="tx1"/>
                </a:solidFill>
              </a:defRPr>
            </a:lvl4pPr>
            <a:lvl5pPr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/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6608925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/>
        </p:nvSpPr>
        <p:spPr>
          <a:xfrm>
            <a:off x="-1" y="4634895"/>
            <a:ext cx="12191993" cy="18585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/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24037463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583749039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/>
        </p:nvSpPr>
        <p:spPr>
          <a:xfrm>
            <a:off x="609600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BC9E4E-DC08-F04A-907F-38011949DD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" y="0"/>
            <a:ext cx="6095999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1575737-3A06-C042-B28A-86B83C3E21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750" y="-245740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2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07172E8-0BD8-F544-908A-019163C1B57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30836" y="1140592"/>
            <a:ext cx="5273485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14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027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039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053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/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7097EC-1E36-4C71-9C58-09DB83CC70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0838" y="2322513"/>
            <a:ext cx="5272617" cy="3068637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spcBef>
                <a:spcPts val="225"/>
              </a:spcBef>
              <a:spcAft>
                <a:spcPts val="450"/>
              </a:spcAft>
              <a:defRPr sz="900">
                <a:solidFill>
                  <a:schemeClr val="bg1"/>
                </a:solidFill>
              </a:defRPr>
            </a:lvl1pPr>
            <a:lvl2pPr marL="301229" indent="-129779">
              <a:lnSpc>
                <a:spcPct val="120000"/>
              </a:lnSpc>
              <a:spcBef>
                <a:spcPts val="225"/>
              </a:spcBef>
              <a:spcAft>
                <a:spcPts val="225"/>
              </a:spcAft>
              <a:defRPr sz="900">
                <a:solidFill>
                  <a:schemeClr val="bg1"/>
                </a:solidFill>
              </a:defRPr>
            </a:lvl2pPr>
            <a:lvl3pPr marL="471488" indent="-128588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defRPr sz="9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225"/>
              </a:spcBef>
              <a:spcAft>
                <a:spcPts val="225"/>
              </a:spcAft>
              <a:defRPr sz="900">
                <a:solidFill>
                  <a:schemeClr val="bg1"/>
                </a:solidFill>
              </a:defRPr>
            </a:lvl4pPr>
            <a:lvl5pPr>
              <a:lnSpc>
                <a:spcPct val="120000"/>
              </a:lnSpc>
              <a:spcBef>
                <a:spcPts val="225"/>
              </a:spcBef>
              <a:spcAft>
                <a:spcPts val="225"/>
              </a:spcAft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716170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4C71BB1-9FDA-FD43-ABCF-0E1CBF9339EF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7956D00C-F9B1-A148-A629-18366F705E1D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B3B2E306-4BAC-E74F-AAF1-3A3FFDADD8C7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6" name="Shape">
            <a:extLst>
              <a:ext uri="{FF2B5EF4-FFF2-40B4-BE49-F238E27FC236}">
                <a16:creationId xmlns:a16="http://schemas.microsoft.com/office/drawing/2014/main" id="{5CE8CCFA-519E-854E-BAFF-171A193655DC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45C6D3C-FD35-9740-BCC6-7F1FD78E6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Slide Number Placeholder 6">
            <a:extLst>
              <a:ext uri="{FF2B5EF4-FFF2-40B4-BE49-F238E27FC236}">
                <a16:creationId xmlns:a16="http://schemas.microsoft.com/office/drawing/2014/main" id="{72038E76-D90C-D142-9106-42EAF6B069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B43793-C35B-B54E-ADE4-3AA97F5855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1123C5F-E173-614D-A2E8-E7C6084BD9F1}"/>
              </a:ext>
            </a:extLst>
          </p:cNvPr>
          <p:cNvSpPr txBox="1"/>
          <p:nvPr userDrawn="1"/>
        </p:nvSpPr>
        <p:spPr>
          <a:xfrm>
            <a:off x="508000" y="2067340"/>
            <a:ext cx="5588000" cy="4084983"/>
          </a:xfrm>
          <a:prstGeom prst="rect">
            <a:avLst/>
          </a:prstGeom>
        </p:spPr>
        <p:txBody>
          <a:bodyPr wrap="square" lIns="121869" tIns="60933" rIns="121869" bIns="60933" rtlCol="0" anchor="t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endParaRPr lang="en-US" sz="2099">
              <a:solidFill>
                <a:schemeClr val="bg1">
                  <a:lumMod val="50000"/>
                </a:schemeClr>
              </a:solidFill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1913816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FFDA2CE-0174-7748-9A5A-EBA28137D1AF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2" y="1312662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6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idx="1" hasCustomPrompt="1"/>
          </p:nvPr>
        </p:nvSpPr>
        <p:spPr>
          <a:xfrm>
            <a:off x="6461761" y="1271016"/>
            <a:ext cx="5214907" cy="478306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514350" indent="-514350">
              <a:spcBef>
                <a:spcPts val="0"/>
              </a:spcBef>
              <a:spcAft>
                <a:spcPts val="4800"/>
              </a:spcAft>
              <a:buClr>
                <a:schemeClr val="accent1"/>
              </a:buClr>
              <a:buSzPct val="100000"/>
              <a:buFont typeface="+mj-lt"/>
              <a:buAutoNum type="arabicPeriod"/>
              <a:defRPr sz="2200"/>
            </a:lvl1pPr>
            <a:lvl2pPr marL="1123702" indent="-514350">
              <a:spcBef>
                <a:spcPts val="0"/>
              </a:spcBef>
              <a:spcAft>
                <a:spcPts val="4800"/>
              </a:spcAft>
              <a:buClr>
                <a:schemeClr val="accent1"/>
              </a:buClr>
              <a:buSzPct val="200000"/>
              <a:buFont typeface="+mj-lt"/>
              <a:buAutoNum type="arabicPeriod"/>
              <a:defRPr sz="3000"/>
            </a:lvl2pPr>
            <a:lvl3pPr marL="1733052" indent="-514350">
              <a:spcBef>
                <a:spcPts val="0"/>
              </a:spcBef>
              <a:spcAft>
                <a:spcPts val="4800"/>
              </a:spcAft>
              <a:buClr>
                <a:schemeClr val="accent1"/>
              </a:buClr>
              <a:buSzPct val="200000"/>
              <a:buFont typeface="+mj-lt"/>
              <a:buAutoNum type="arabicPeriod"/>
              <a:defRPr sz="3000"/>
            </a:lvl3pPr>
            <a:lvl4pPr marL="2342402" indent="-514350">
              <a:spcBef>
                <a:spcPts val="0"/>
              </a:spcBef>
              <a:spcAft>
                <a:spcPts val="4800"/>
              </a:spcAft>
              <a:buClr>
                <a:schemeClr val="accent1"/>
              </a:buClr>
              <a:buSzPct val="200000"/>
              <a:buFont typeface="+mj-lt"/>
              <a:buAutoNum type="arabicPeriod"/>
              <a:defRPr sz="3000"/>
            </a:lvl4pPr>
            <a:lvl5pPr marL="2951754" indent="-514350">
              <a:spcBef>
                <a:spcPts val="0"/>
              </a:spcBef>
              <a:spcAft>
                <a:spcPts val="4800"/>
              </a:spcAft>
              <a:buClr>
                <a:schemeClr val="accent1"/>
              </a:buClr>
              <a:buSzPct val="200000"/>
              <a:buFont typeface="+mj-lt"/>
              <a:buAutoNum type="arabicPeriod"/>
              <a:defRPr sz="3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334836" y="2839212"/>
            <a:ext cx="3803904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3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870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0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7404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">
            <a:extLst>
              <a:ext uri="{FF2B5EF4-FFF2-40B4-BE49-F238E27FC236}">
                <a16:creationId xmlns:a16="http://schemas.microsoft.com/office/drawing/2014/main" id="{D320A928-0C1B-1F43-B7DD-5C839EC114FF}"/>
              </a:ext>
            </a:extLst>
          </p:cNvPr>
          <p:cNvSpPr/>
          <p:nvPr userDrawn="1"/>
        </p:nvSpPr>
        <p:spPr>
          <a:xfrm>
            <a:off x="0" y="4389120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Shape">
            <a:extLst>
              <a:ext uri="{FF2B5EF4-FFF2-40B4-BE49-F238E27FC236}">
                <a16:creationId xmlns:a16="http://schemas.microsoft.com/office/drawing/2014/main" id="{BEDE0841-3D72-FA4C-A1A7-2242BAFFE9DD}"/>
              </a:ext>
            </a:extLst>
          </p:cNvPr>
          <p:cNvSpPr/>
          <p:nvPr userDrawn="1"/>
        </p:nvSpPr>
        <p:spPr>
          <a:xfrm>
            <a:off x="0" y="4937638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25CD84F4-8F1D-DD42-968A-B672E7F51961}"/>
              </a:ext>
            </a:extLst>
          </p:cNvPr>
          <p:cNvSpPr/>
          <p:nvPr userDrawn="1"/>
        </p:nvSpPr>
        <p:spPr>
          <a:xfrm>
            <a:off x="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D377CDD-EAE2-9246-B70E-79B86CFA734C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0FA9D0E6-6028-A84B-AB32-68D8B21955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7537446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DE93D0-CD47-FB4F-9C4D-1DDEF9A47153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FF4098C8-B27B-E742-AF2B-FAACE164FD8F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A4250A6A-5DB7-464A-85EB-7072B0934882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1" y="1707786"/>
            <a:ext cx="5587460" cy="4648568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1146"/>
            <a:ext cx="114300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AA86664-C997-D14C-B7C0-E61F5A648C1E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BBD83AB6-A541-9442-AB6B-F50F88754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929B619-337D-A14C-B213-5A943A5F12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56723920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64952117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COMPARIS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1F47A73-2BE8-41B4-902F-DCDFA8A9A9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3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84F6D6-CCC2-4F2B-9E4C-A982785D10B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1125053-4680-DF45-BEF0-3F90988C5E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40833288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UBL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6575E4A-952B-BF40-A8A1-224D89D3F30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4418" y="1746753"/>
            <a:ext cx="5249333" cy="4746122"/>
          </a:xfrm>
        </p:spPr>
        <p:txBody>
          <a:bodyPr/>
          <a:lstStyle/>
          <a:p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96382302-7573-B641-AE92-16F61522852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93698" y="1746753"/>
            <a:ext cx="5249333" cy="4746122"/>
          </a:xfrm>
        </p:spPr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E4E5B-D651-7346-8745-F2B732325A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728A7FC-5A11-6D41-AD52-BFF68FBD05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0542784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+ 4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2121CD1-D059-4749-9048-A950DAE4F4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0790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584C210-7A6A-4E72-A342-49A9C6C91B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F5066B-E6D2-49CE-BA01-EA21C96175F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9517CEC9-5F44-4399-A636-908D6B727EE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4738" y="4424556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B0C878EC-937E-4122-9875-59BA786C2387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00790" y="4424556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EE2593-7D67-AC40-9D1F-A839338985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F178F9-97EC-8F45-B9D0-BF5A7BF17B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4998442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+ 3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95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1FBFF86A-55FF-4667-A474-410A55DE52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C3628C1-6684-4037-A95B-E7C3A7E444A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F356DB6-8ABE-49EB-B67F-F69F8892596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469537" y="4429201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8732566-D1B1-2646-BB74-04F2A6A6BF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51157B3-F0D7-964E-A2D9-4D0068EAC7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5006782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STITUTE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7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57651667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STITUTE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1" y="1707786"/>
            <a:ext cx="5278596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7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7B4B9-C2E5-584C-A6FD-1E6E7F8D1E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24203" y="1708150"/>
            <a:ext cx="5588000" cy="4648200"/>
          </a:xfrm>
        </p:spPr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042475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 userDrawn="1"/>
        </p:nvSpPr>
        <p:spPr>
          <a:xfrm>
            <a:off x="609600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BC9E4E-DC08-F04A-907F-38011949DD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6095999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1575737-3A06-C042-B28A-86B83C3E21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749" y="502412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6000">
                <a:solidFill>
                  <a:srgbClr val="00A8E1"/>
                </a:solidFill>
                <a:latin typeface="+mj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07172E8-0BD8-F544-908A-019163C1B57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30836" y="1888744"/>
            <a:ext cx="5273485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3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870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0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7404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0A428D6A-B377-6F43-BA57-D036EAC6A5C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30434" y="2925064"/>
            <a:ext cx="5273887" cy="3069336"/>
          </a:xfrm>
        </p:spPr>
        <p:txBody>
          <a:bodyPr>
            <a:noAutofit/>
          </a:bodyPr>
          <a:lstStyle>
            <a:lvl1pPr marL="120650" indent="-120650">
              <a:tabLst/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47115818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4C71BB1-9FDA-FD43-ABCF-0E1CBF9339EF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7956D00C-F9B1-A148-A629-18366F705E1D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B3B2E306-4BAC-E74F-AAF1-3A3FFDADD8C7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6" name="Shape">
            <a:extLst>
              <a:ext uri="{FF2B5EF4-FFF2-40B4-BE49-F238E27FC236}">
                <a16:creationId xmlns:a16="http://schemas.microsoft.com/office/drawing/2014/main" id="{5CE8CCFA-519E-854E-BAFF-171A193655DC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45C6D3C-FD35-9740-BCC6-7F1FD78E6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Slide Number Placeholder 6">
            <a:extLst>
              <a:ext uri="{FF2B5EF4-FFF2-40B4-BE49-F238E27FC236}">
                <a16:creationId xmlns:a16="http://schemas.microsoft.com/office/drawing/2014/main" id="{72038E76-D90C-D142-9106-42EAF6B069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B43793-C35B-B54E-ADE4-3AA97F5855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53695467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FFDA2CE-0174-7748-9A5A-EBA28137D1AF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2" y="1312662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6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334836" y="2839212"/>
            <a:ext cx="3803904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3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870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0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7404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">
            <a:extLst>
              <a:ext uri="{FF2B5EF4-FFF2-40B4-BE49-F238E27FC236}">
                <a16:creationId xmlns:a16="http://schemas.microsoft.com/office/drawing/2014/main" id="{D320A928-0C1B-1F43-B7DD-5C839EC114FF}"/>
              </a:ext>
            </a:extLst>
          </p:cNvPr>
          <p:cNvSpPr/>
          <p:nvPr userDrawn="1"/>
        </p:nvSpPr>
        <p:spPr>
          <a:xfrm>
            <a:off x="0" y="4389120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Shape">
            <a:extLst>
              <a:ext uri="{FF2B5EF4-FFF2-40B4-BE49-F238E27FC236}">
                <a16:creationId xmlns:a16="http://schemas.microsoft.com/office/drawing/2014/main" id="{BEDE0841-3D72-FA4C-A1A7-2242BAFFE9DD}"/>
              </a:ext>
            </a:extLst>
          </p:cNvPr>
          <p:cNvSpPr/>
          <p:nvPr userDrawn="1"/>
        </p:nvSpPr>
        <p:spPr>
          <a:xfrm>
            <a:off x="0" y="4937638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25CD84F4-8F1D-DD42-968A-B672E7F51961}"/>
              </a:ext>
            </a:extLst>
          </p:cNvPr>
          <p:cNvSpPr/>
          <p:nvPr userDrawn="1"/>
        </p:nvSpPr>
        <p:spPr>
          <a:xfrm>
            <a:off x="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D377CDD-EAE2-9246-B70E-79B86CFA734C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0FA9D0E6-6028-A84B-AB32-68D8B21955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23F78CE-3476-2443-BDB8-A5DC730980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18852" y="1312663"/>
            <a:ext cx="5043465" cy="4402338"/>
          </a:xfrm>
        </p:spPr>
        <p:txBody>
          <a:bodyPr>
            <a:noAutofit/>
          </a:bodyPr>
          <a:lstStyle>
            <a:lvl1pPr marL="342900" indent="-342900"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2000"/>
            </a:lvl1pPr>
            <a:lvl2pPr>
              <a:spcAft>
                <a:spcPts val="600"/>
              </a:spcAft>
              <a:buClr>
                <a:schemeClr val="accent1"/>
              </a:buClr>
              <a:defRPr sz="2000"/>
            </a:lvl2pPr>
            <a:lvl3pPr>
              <a:spcAft>
                <a:spcPts val="600"/>
              </a:spcAft>
              <a:buClr>
                <a:schemeClr val="accent1"/>
              </a:buClr>
              <a:defRPr sz="2000"/>
            </a:lvl3pPr>
            <a:lvl4pPr>
              <a:spcAft>
                <a:spcPts val="600"/>
              </a:spcAft>
              <a:buClr>
                <a:schemeClr val="accent1"/>
              </a:buClr>
              <a:defRPr sz="2000"/>
            </a:lvl4pPr>
            <a:lvl5pPr>
              <a:spcAft>
                <a:spcPts val="600"/>
              </a:spcAft>
              <a:buClr>
                <a:schemeClr val="accent1"/>
              </a:buCl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1004439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DE93D0-CD47-FB4F-9C4D-1DDEF9A47153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FF4098C8-B27B-E742-AF2B-FAACE164FD8F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A4250A6A-5DB7-464A-85EB-7072B0934882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1" y="1707786"/>
            <a:ext cx="5587460" cy="4502514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1146"/>
            <a:ext cx="114300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AA86664-C997-D14C-B7C0-E61F5A648C1E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BBD83AB6-A541-9442-AB6B-F50F88754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929B619-337D-A14C-B213-5A943A5F12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636C7CF-7824-E34B-9E97-6F3B67C700BD}"/>
              </a:ext>
            </a:extLst>
          </p:cNvPr>
          <p:cNvSpPr txBox="1"/>
          <p:nvPr userDrawn="1"/>
        </p:nvSpPr>
        <p:spPr>
          <a:xfrm>
            <a:off x="12987131" y="2623930"/>
            <a:ext cx="0" cy="0"/>
          </a:xfrm>
          <a:prstGeom prst="rect">
            <a:avLst/>
          </a:prstGeom>
        </p:spPr>
        <p:txBody>
          <a:bodyPr wrap="none" lIns="121869" tIns="60933" rIns="121869" bIns="60933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34443"/>
              </a:solidFill>
              <a:effectLst/>
              <a:uLnTx/>
              <a:uFillTx/>
              <a:latin typeface="Arial"/>
              <a:ea typeface="ヒラギノ角ゴ Pro W3" pitchFamily="116" charset="-128"/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94055716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502514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7959019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COMPARIS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1F47A73-2BE8-41B4-902F-DCDFA8A9A9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3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84F6D6-CCC2-4F2B-9E4C-A982785D10B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1125053-4680-DF45-BEF0-3F90988C5E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41856552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UBL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6B104503-938D-4D1E-A43E-B3F81F88872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92852" y="1746250"/>
            <a:ext cx="5274733" cy="446405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69B80A-0F86-4400-9AA0-B5450211F8C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4418" y="1746250"/>
            <a:ext cx="5274733" cy="446405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E4E5B-D651-7346-8745-F2B732325A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728A7FC-5A11-6D41-AD52-BFF68FBD05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5671118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+ 4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2121CD1-D059-4749-9048-A950DAE4F4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0790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584C210-7A6A-4E72-A342-49A9C6C91B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F5066B-E6D2-49CE-BA01-EA21C96175F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9517CEC9-5F44-4399-A636-908D6B727EE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4738" y="4424556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B0C878EC-937E-4122-9875-59BA786C2387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00790" y="4424556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EE2593-7D67-AC40-9D1F-A839338985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F178F9-97EC-8F45-B9D0-BF5A7BF17B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6847923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UBTITLE + 4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2121CD1-D059-4749-9048-A950DAE4F4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0790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584C210-7A6A-4E72-A342-49A9C6C91B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F5066B-E6D2-49CE-BA01-EA21C96175F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EE2593-7D67-AC40-9D1F-A839338985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F178F9-97EC-8F45-B9D0-BF5A7BF17B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0B8DB71-5DF2-C04E-AF83-DBF86D30767B}"/>
              </a:ext>
            </a:extLst>
          </p:cNvPr>
          <p:cNvGrpSpPr/>
          <p:nvPr userDrawn="1"/>
        </p:nvGrpSpPr>
        <p:grpSpPr>
          <a:xfrm>
            <a:off x="1634604" y="3895712"/>
            <a:ext cx="8922792" cy="0"/>
            <a:chOff x="1277233" y="3895712"/>
            <a:chExt cx="6692094" cy="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6BE41B89-C55A-B946-AC8C-237DD1B55C0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77233" y="3895712"/>
              <a:ext cx="2858406" cy="0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12DCBAA8-2FE7-5E48-9235-4E3273ED62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64082" y="3895712"/>
              <a:ext cx="2905245" cy="0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63F3587-18B6-9946-BD15-07078823973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71354"/>
            <a:ext cx="0" cy="1704515"/>
          </a:xfrm>
          <a:prstGeom prst="line">
            <a:avLst/>
          </a:prstGeom>
          <a:ln w="19050" cap="rnd">
            <a:solidFill>
              <a:schemeClr val="accent2"/>
            </a:solidFill>
            <a:prstDash val="soli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CEF27BE-3AF2-DF44-B04F-E2891E3A5DDC}"/>
              </a:ext>
            </a:extLst>
          </p:cNvPr>
          <p:cNvCxnSpPr>
            <a:cxnSpLocks/>
          </p:cNvCxnSpPr>
          <p:nvPr userDrawn="1"/>
        </p:nvCxnSpPr>
        <p:spPr>
          <a:xfrm>
            <a:off x="6096000" y="4313172"/>
            <a:ext cx="0" cy="1704515"/>
          </a:xfrm>
          <a:prstGeom prst="line">
            <a:avLst/>
          </a:prstGeom>
          <a:ln w="19050" cap="rnd">
            <a:solidFill>
              <a:schemeClr val="accent2"/>
            </a:solidFill>
            <a:prstDash val="soli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D0B0D022-0F2D-7345-A71D-90A9D84D818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4738" y="44223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43FF5A2-AC55-D742-8EBC-7DD6A02B5174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00790" y="44223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5723228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+ 3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95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1FBFF86A-55FF-4667-A474-410A55DE52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C3628C1-6684-4037-A95B-E7C3A7E444A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F356DB6-8ABE-49EB-B67F-F69F8892596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469537" y="4429201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8732566-D1B1-2646-BB74-04F2A6A6BF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51157B3-F0D7-964E-A2D9-4D0068EAC7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56895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STITUTE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502514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7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7967758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STITUTE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1" y="1707786"/>
            <a:ext cx="5278596" cy="4502514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7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7B4B9-C2E5-584C-A6FD-1E6E7F8D1E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24203" y="1708150"/>
            <a:ext cx="5588000" cy="4502150"/>
          </a:xfrm>
        </p:spPr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1563496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 userDrawn="1"/>
        </p:nvSpPr>
        <p:spPr>
          <a:xfrm>
            <a:off x="609600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BC9E4E-DC08-F04A-907F-38011949DD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6095999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1575737-3A06-C042-B28A-86B83C3E21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749" y="-245740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6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07172E8-0BD8-F544-908A-019163C1B57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30836" y="1140592"/>
            <a:ext cx="5273485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3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870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0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7404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/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  <a:ea typeface="ヒラギノ角ゴ Pro W3" pitchFamily="116" charset="-128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7097EC-1E36-4C71-9C58-09DB83CC70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0837" y="2322513"/>
            <a:ext cx="5272617" cy="3068637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defRPr sz="1200">
                <a:solidFill>
                  <a:schemeClr val="bg1"/>
                </a:solidFill>
              </a:defRPr>
            </a:lvl1pPr>
            <a:lvl2pPr marL="401638" indent="-173038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2pPr>
            <a:lvl3pPr marL="628650" indent="-171450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2923541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 userDrawn="1"/>
        </p:nvSpPr>
        <p:spPr>
          <a:xfrm>
            <a:off x="-1" y="4634893"/>
            <a:ext cx="12191993" cy="18585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/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  <a:ea typeface="ヒラギノ角ゴ Pro W3" pitchFamily="116" charset="-128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89063762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7945861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00552292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905607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839292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3306052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425276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68111017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917425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859751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48271877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129740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46161835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99763353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906204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893714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8391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63597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42334943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776301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73780612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69085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577169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772999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04928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516569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852201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40125896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58394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831681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64405047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729977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92138345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67330745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884516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6686374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019614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54654305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49555388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423479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0961168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72466526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7406571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88725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079226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995868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50002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1718118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56534680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13402278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766573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93044822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152329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78397692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76332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564002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024882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44540002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28592740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211831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945288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48068056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16788733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9488569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365733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556492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3858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189309196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339400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81968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025272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885335670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564523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137928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235103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025213214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8459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664402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573249767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791023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94011789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1412037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439313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254979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19764124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56320048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261565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19378419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9019169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6475941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1208990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22582517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582609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685830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60505573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76967615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44554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79662267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036100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88841762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6664859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825022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295509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11/27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55219722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11/27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6639017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98881752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304815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429459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786669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58656829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7933181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511967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37549558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786625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0446015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36709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378405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41905590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404026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85589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02913737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71072050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37609151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15962140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03441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69914948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339252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3477421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555067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563745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59653553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732211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80357275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31620422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302031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09761515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5040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76765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521919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099240456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281681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181997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106961407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442027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7746009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48939515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8913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726497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82279873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45562902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89002723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33272347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4588803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80211776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65424283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5818367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68202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996536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6273013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6178103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41865927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32650295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486669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25714140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75731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59615674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5597065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303354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406627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10769816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66180108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76317991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81736797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7801621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19508990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243500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43585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247880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605933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73836234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27580314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69217150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03815851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566578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46664266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208784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19384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57370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054412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02387760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94998246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16430601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847817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023861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487229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83968941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607915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69154071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69921023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393675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99692006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94286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454746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14167691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32649720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033305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27241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93072254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79292833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02308513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15161965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765250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75326797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401208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41133926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969534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03705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12405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61907989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01814782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35766241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750091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457782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33286998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1337797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93343566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1326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59202650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3974932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91514975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622626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3672960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89625986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73406214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91442400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64277948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7813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806040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768801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87499949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10919870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57486424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23496202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915246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74958637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191101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93605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998900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711961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37426205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14117009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989404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667582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67461911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68215510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34798630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7828893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467861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8305983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59417129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08008879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914290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046014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55924491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1403802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65541050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441734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475408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65405487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202052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689509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89079568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59101730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4138466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93406981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993957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82155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4986730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40253108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18056055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17530168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446302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63546709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8494269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77888558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184700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7479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39454758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58741675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19656943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22993520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817857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75611118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20288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196618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853384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2184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188070287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613966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03387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048944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312168158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875799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885179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728764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312425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92685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532073794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44822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840737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915844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162446053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466658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77554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71444469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261478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9510720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86235398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299818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497420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07506520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34900461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34264774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10683072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92207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836380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053228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464223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99846289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4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055518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Presentation 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Subtitle</a:t>
            </a:r>
          </a:p>
          <a:p>
            <a:pPr lvl="0"/>
            <a:r>
              <a:rPr lang="en-US" dirty="0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1708269591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3025156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 dirty="0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7739094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ection </a:t>
            </a:r>
            <a:br>
              <a:rPr lang="en-US" dirty="0"/>
            </a:br>
            <a:r>
              <a:rPr lang="en-US" dirty="0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3045977769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02792696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925517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82558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350924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899720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738101791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617285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1612306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1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547609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70963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89790824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239828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11/27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47109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11/27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48747606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816952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69183587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383390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316166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781396056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775498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71711323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107487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1965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25467746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60366616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066374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247090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939330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46556817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45608327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07906071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37895732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20041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74686455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11518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99" Type="http://schemas.openxmlformats.org/officeDocument/2006/relationships/slideLayout" Target="../slideLayouts/slideLayout299.xml"/><Relationship Id="rId303" Type="http://schemas.openxmlformats.org/officeDocument/2006/relationships/slideLayout" Target="../slideLayouts/slideLayout303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59" Type="http://schemas.openxmlformats.org/officeDocument/2006/relationships/slideLayout" Target="../slideLayouts/slideLayout159.xml"/><Relationship Id="rId324" Type="http://schemas.openxmlformats.org/officeDocument/2006/relationships/slideLayout" Target="../slideLayouts/slideLayout324.xml"/><Relationship Id="rId170" Type="http://schemas.openxmlformats.org/officeDocument/2006/relationships/slideLayout" Target="../slideLayouts/slideLayout170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226" Type="http://schemas.openxmlformats.org/officeDocument/2006/relationships/slideLayout" Target="../slideLayouts/slideLayout226.xml"/><Relationship Id="rId247" Type="http://schemas.openxmlformats.org/officeDocument/2006/relationships/slideLayout" Target="../slideLayouts/slideLayout247.xml"/><Relationship Id="rId107" Type="http://schemas.openxmlformats.org/officeDocument/2006/relationships/slideLayout" Target="../slideLayouts/slideLayout107.xml"/><Relationship Id="rId268" Type="http://schemas.openxmlformats.org/officeDocument/2006/relationships/slideLayout" Target="../slideLayouts/slideLayout268.xml"/><Relationship Id="rId289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149" Type="http://schemas.openxmlformats.org/officeDocument/2006/relationships/slideLayout" Target="../slideLayouts/slideLayout149.xml"/><Relationship Id="rId314" Type="http://schemas.openxmlformats.org/officeDocument/2006/relationships/slideLayout" Target="../slideLayouts/slideLayout314.xml"/><Relationship Id="rId335" Type="http://schemas.openxmlformats.org/officeDocument/2006/relationships/slideLayout" Target="../slideLayouts/slideLayout335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81" Type="http://schemas.openxmlformats.org/officeDocument/2006/relationships/slideLayout" Target="../slideLayouts/slideLayout181.xml"/><Relationship Id="rId216" Type="http://schemas.openxmlformats.org/officeDocument/2006/relationships/slideLayout" Target="../slideLayouts/slideLayout216.xml"/><Relationship Id="rId237" Type="http://schemas.openxmlformats.org/officeDocument/2006/relationships/slideLayout" Target="../slideLayouts/slideLayout237.xml"/><Relationship Id="rId258" Type="http://schemas.openxmlformats.org/officeDocument/2006/relationships/slideLayout" Target="../slideLayouts/slideLayout258.xml"/><Relationship Id="rId279" Type="http://schemas.openxmlformats.org/officeDocument/2006/relationships/slideLayout" Target="../slideLayouts/slideLayout279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290" Type="http://schemas.openxmlformats.org/officeDocument/2006/relationships/slideLayout" Target="../slideLayouts/slideLayout290.xml"/><Relationship Id="rId304" Type="http://schemas.openxmlformats.org/officeDocument/2006/relationships/slideLayout" Target="../slideLayouts/slideLayout304.xml"/><Relationship Id="rId325" Type="http://schemas.openxmlformats.org/officeDocument/2006/relationships/slideLayout" Target="../slideLayouts/slideLayout325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71" Type="http://schemas.openxmlformats.org/officeDocument/2006/relationships/slideLayout" Target="../slideLayouts/slideLayout171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227" Type="http://schemas.openxmlformats.org/officeDocument/2006/relationships/slideLayout" Target="../slideLayouts/slideLayout227.xml"/><Relationship Id="rId248" Type="http://schemas.openxmlformats.org/officeDocument/2006/relationships/slideLayout" Target="../slideLayouts/slideLayout248.xml"/><Relationship Id="rId269" Type="http://schemas.openxmlformats.org/officeDocument/2006/relationships/slideLayout" Target="../slideLayouts/slideLayout269.xml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280" Type="http://schemas.openxmlformats.org/officeDocument/2006/relationships/slideLayout" Target="../slideLayouts/slideLayout280.xml"/><Relationship Id="rId315" Type="http://schemas.openxmlformats.org/officeDocument/2006/relationships/slideLayout" Target="../slideLayouts/slideLayout315.xml"/><Relationship Id="rId336" Type="http://schemas.openxmlformats.org/officeDocument/2006/relationships/slideLayout" Target="../slideLayouts/slideLayout336.xml"/><Relationship Id="rId54" Type="http://schemas.openxmlformats.org/officeDocument/2006/relationships/slideLayout" Target="../slideLayouts/slideLayout54.xml"/><Relationship Id="rId75" Type="http://schemas.openxmlformats.org/officeDocument/2006/relationships/slideLayout" Target="../slideLayouts/slideLayout75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61" Type="http://schemas.openxmlformats.org/officeDocument/2006/relationships/slideLayout" Target="../slideLayouts/slideLayout161.xml"/><Relationship Id="rId182" Type="http://schemas.openxmlformats.org/officeDocument/2006/relationships/slideLayout" Target="../slideLayouts/slideLayout182.xml"/><Relationship Id="rId217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6.xml"/><Relationship Id="rId238" Type="http://schemas.openxmlformats.org/officeDocument/2006/relationships/slideLayout" Target="../slideLayouts/slideLayout238.xml"/><Relationship Id="rId259" Type="http://schemas.openxmlformats.org/officeDocument/2006/relationships/slideLayout" Target="../slideLayouts/slideLayout259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270" Type="http://schemas.openxmlformats.org/officeDocument/2006/relationships/slideLayout" Target="../slideLayouts/slideLayout270.xml"/><Relationship Id="rId291" Type="http://schemas.openxmlformats.org/officeDocument/2006/relationships/slideLayout" Target="../slideLayouts/slideLayout291.xml"/><Relationship Id="rId305" Type="http://schemas.openxmlformats.org/officeDocument/2006/relationships/slideLayout" Target="../slideLayouts/slideLayout305.xml"/><Relationship Id="rId326" Type="http://schemas.openxmlformats.org/officeDocument/2006/relationships/slideLayout" Target="../slideLayouts/slideLayout326.xml"/><Relationship Id="rId44" Type="http://schemas.openxmlformats.org/officeDocument/2006/relationships/slideLayout" Target="../slideLayouts/slideLayout44.xml"/><Relationship Id="rId65" Type="http://schemas.openxmlformats.org/officeDocument/2006/relationships/slideLayout" Target="../slideLayouts/slideLayout65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51" Type="http://schemas.openxmlformats.org/officeDocument/2006/relationships/slideLayout" Target="../slideLayouts/slideLayout151.xml"/><Relationship Id="rId172" Type="http://schemas.openxmlformats.org/officeDocument/2006/relationships/slideLayout" Target="../slideLayouts/slideLayout172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228" Type="http://schemas.openxmlformats.org/officeDocument/2006/relationships/slideLayout" Target="../slideLayouts/slideLayout228.xml"/><Relationship Id="rId249" Type="http://schemas.openxmlformats.org/officeDocument/2006/relationships/slideLayout" Target="../slideLayouts/slideLayout249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260" Type="http://schemas.openxmlformats.org/officeDocument/2006/relationships/slideLayout" Target="../slideLayouts/slideLayout260.xml"/><Relationship Id="rId281" Type="http://schemas.openxmlformats.org/officeDocument/2006/relationships/slideLayout" Target="../slideLayouts/slideLayout281.xml"/><Relationship Id="rId316" Type="http://schemas.openxmlformats.org/officeDocument/2006/relationships/slideLayout" Target="../slideLayouts/slideLayout316.xml"/><Relationship Id="rId337" Type="http://schemas.openxmlformats.org/officeDocument/2006/relationships/slideLayout" Target="../slideLayouts/slideLayout337.xml"/><Relationship Id="rId34" Type="http://schemas.openxmlformats.org/officeDocument/2006/relationships/slideLayout" Target="../slideLayouts/slideLayout34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141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7.xml"/><Relationship Id="rId162" Type="http://schemas.openxmlformats.org/officeDocument/2006/relationships/slideLayout" Target="../slideLayouts/slideLayout162.xml"/><Relationship Id="rId183" Type="http://schemas.openxmlformats.org/officeDocument/2006/relationships/slideLayout" Target="../slideLayouts/slideLayout183.xml"/><Relationship Id="rId218" Type="http://schemas.openxmlformats.org/officeDocument/2006/relationships/slideLayout" Target="../slideLayouts/slideLayout218.xml"/><Relationship Id="rId239" Type="http://schemas.openxmlformats.org/officeDocument/2006/relationships/slideLayout" Target="../slideLayouts/slideLayout239.xml"/><Relationship Id="rId250" Type="http://schemas.openxmlformats.org/officeDocument/2006/relationships/slideLayout" Target="../slideLayouts/slideLayout250.xml"/><Relationship Id="rId271" Type="http://schemas.openxmlformats.org/officeDocument/2006/relationships/slideLayout" Target="../slideLayouts/slideLayout271.xml"/><Relationship Id="rId292" Type="http://schemas.openxmlformats.org/officeDocument/2006/relationships/slideLayout" Target="../slideLayouts/slideLayout292.xml"/><Relationship Id="rId306" Type="http://schemas.openxmlformats.org/officeDocument/2006/relationships/slideLayout" Target="../slideLayouts/slideLayout306.xml"/><Relationship Id="rId24" Type="http://schemas.openxmlformats.org/officeDocument/2006/relationships/slideLayout" Target="../slideLayouts/slideLayout24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31" Type="http://schemas.openxmlformats.org/officeDocument/2006/relationships/slideLayout" Target="../slideLayouts/slideLayout131.xml"/><Relationship Id="rId327" Type="http://schemas.openxmlformats.org/officeDocument/2006/relationships/slideLayout" Target="../slideLayouts/slideLayout327.xml"/><Relationship Id="rId152" Type="http://schemas.openxmlformats.org/officeDocument/2006/relationships/slideLayout" Target="../slideLayouts/slideLayout152.xml"/><Relationship Id="rId173" Type="http://schemas.openxmlformats.org/officeDocument/2006/relationships/slideLayout" Target="../slideLayouts/slideLayout173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229" Type="http://schemas.openxmlformats.org/officeDocument/2006/relationships/slideLayout" Target="../slideLayouts/slideLayout229.xml"/><Relationship Id="rId240" Type="http://schemas.openxmlformats.org/officeDocument/2006/relationships/slideLayout" Target="../slideLayouts/slideLayout240.xml"/><Relationship Id="rId261" Type="http://schemas.openxmlformats.org/officeDocument/2006/relationships/slideLayout" Target="../slideLayouts/slideLayout261.xml"/><Relationship Id="rId14" Type="http://schemas.openxmlformats.org/officeDocument/2006/relationships/slideLayout" Target="../slideLayouts/slideLayout14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282" Type="http://schemas.openxmlformats.org/officeDocument/2006/relationships/slideLayout" Target="../slideLayouts/slideLayout282.xml"/><Relationship Id="rId317" Type="http://schemas.openxmlformats.org/officeDocument/2006/relationships/slideLayout" Target="../slideLayouts/slideLayout317.xml"/><Relationship Id="rId338" Type="http://schemas.openxmlformats.org/officeDocument/2006/relationships/slideLayout" Target="../slideLayouts/slideLayout338.xml"/><Relationship Id="rId8" Type="http://schemas.openxmlformats.org/officeDocument/2006/relationships/slideLayout" Target="../slideLayouts/slideLayout8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184" Type="http://schemas.openxmlformats.org/officeDocument/2006/relationships/slideLayout" Target="../slideLayouts/slideLayout184.xml"/><Relationship Id="rId219" Type="http://schemas.openxmlformats.org/officeDocument/2006/relationships/slideLayout" Target="../slideLayouts/slideLayout219.xml"/><Relationship Id="rId230" Type="http://schemas.openxmlformats.org/officeDocument/2006/relationships/slideLayout" Target="../slideLayouts/slideLayout230.xml"/><Relationship Id="rId251" Type="http://schemas.openxmlformats.org/officeDocument/2006/relationships/slideLayout" Target="../slideLayouts/slideLayout251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72" Type="http://schemas.openxmlformats.org/officeDocument/2006/relationships/slideLayout" Target="../slideLayouts/slideLayout272.xml"/><Relationship Id="rId293" Type="http://schemas.openxmlformats.org/officeDocument/2006/relationships/slideLayout" Target="../slideLayouts/slideLayout293.xml"/><Relationship Id="rId302" Type="http://schemas.openxmlformats.org/officeDocument/2006/relationships/slideLayout" Target="../slideLayouts/slideLayout302.xml"/><Relationship Id="rId307" Type="http://schemas.openxmlformats.org/officeDocument/2006/relationships/slideLayout" Target="../slideLayouts/slideLayout307.xml"/><Relationship Id="rId323" Type="http://schemas.openxmlformats.org/officeDocument/2006/relationships/slideLayout" Target="../slideLayouts/slideLayout323.xml"/><Relationship Id="rId328" Type="http://schemas.openxmlformats.org/officeDocument/2006/relationships/slideLayout" Target="../slideLayouts/slideLayout32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74" Type="http://schemas.openxmlformats.org/officeDocument/2006/relationships/slideLayout" Target="../slideLayouts/slideLayout174.xml"/><Relationship Id="rId179" Type="http://schemas.openxmlformats.org/officeDocument/2006/relationships/slideLayout" Target="../slideLayouts/slideLayout179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220" Type="http://schemas.openxmlformats.org/officeDocument/2006/relationships/slideLayout" Target="../slideLayouts/slideLayout220.xml"/><Relationship Id="rId225" Type="http://schemas.openxmlformats.org/officeDocument/2006/relationships/slideLayout" Target="../slideLayouts/slideLayout225.xml"/><Relationship Id="rId241" Type="http://schemas.openxmlformats.org/officeDocument/2006/relationships/slideLayout" Target="../slideLayouts/slideLayout241.xml"/><Relationship Id="rId246" Type="http://schemas.openxmlformats.org/officeDocument/2006/relationships/slideLayout" Target="../slideLayouts/slideLayout246.xml"/><Relationship Id="rId267" Type="http://schemas.openxmlformats.org/officeDocument/2006/relationships/slideLayout" Target="../slideLayouts/slideLayout267.xml"/><Relationship Id="rId288" Type="http://schemas.openxmlformats.org/officeDocument/2006/relationships/slideLayout" Target="../slideLayouts/slideLayout288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262" Type="http://schemas.openxmlformats.org/officeDocument/2006/relationships/slideLayout" Target="../slideLayouts/slideLayout262.xml"/><Relationship Id="rId283" Type="http://schemas.openxmlformats.org/officeDocument/2006/relationships/slideLayout" Target="../slideLayouts/slideLayout283.xml"/><Relationship Id="rId313" Type="http://schemas.openxmlformats.org/officeDocument/2006/relationships/slideLayout" Target="../slideLayouts/slideLayout313.xml"/><Relationship Id="rId318" Type="http://schemas.openxmlformats.org/officeDocument/2006/relationships/slideLayout" Target="../slideLayouts/slideLayout318.xml"/><Relationship Id="rId339" Type="http://schemas.openxmlformats.org/officeDocument/2006/relationships/slideLayout" Target="../slideLayouts/slideLayout339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48" Type="http://schemas.openxmlformats.org/officeDocument/2006/relationships/slideLayout" Target="../slideLayouts/slideLayout148.xml"/><Relationship Id="rId164" Type="http://schemas.openxmlformats.org/officeDocument/2006/relationships/slideLayout" Target="../slideLayouts/slideLayout164.xml"/><Relationship Id="rId169" Type="http://schemas.openxmlformats.org/officeDocument/2006/relationships/slideLayout" Target="../slideLayouts/slideLayout169.xml"/><Relationship Id="rId185" Type="http://schemas.openxmlformats.org/officeDocument/2006/relationships/slideLayout" Target="../slideLayouts/slideLayout185.xml"/><Relationship Id="rId334" Type="http://schemas.openxmlformats.org/officeDocument/2006/relationships/slideLayout" Target="../slideLayouts/slideLayout33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80" Type="http://schemas.openxmlformats.org/officeDocument/2006/relationships/slideLayout" Target="../slideLayouts/slideLayout180.xml"/><Relationship Id="rId210" Type="http://schemas.openxmlformats.org/officeDocument/2006/relationships/slideLayout" Target="../slideLayouts/slideLayout210.xml"/><Relationship Id="rId215" Type="http://schemas.openxmlformats.org/officeDocument/2006/relationships/slideLayout" Target="../slideLayouts/slideLayout215.xml"/><Relationship Id="rId236" Type="http://schemas.openxmlformats.org/officeDocument/2006/relationships/slideLayout" Target="../slideLayouts/slideLayout236.xml"/><Relationship Id="rId257" Type="http://schemas.openxmlformats.org/officeDocument/2006/relationships/slideLayout" Target="../slideLayouts/slideLayout257.xml"/><Relationship Id="rId278" Type="http://schemas.openxmlformats.org/officeDocument/2006/relationships/slideLayout" Target="../slideLayouts/slideLayout278.xml"/><Relationship Id="rId26" Type="http://schemas.openxmlformats.org/officeDocument/2006/relationships/slideLayout" Target="../slideLayouts/slideLayout26.xml"/><Relationship Id="rId231" Type="http://schemas.openxmlformats.org/officeDocument/2006/relationships/slideLayout" Target="../slideLayouts/slideLayout231.xml"/><Relationship Id="rId252" Type="http://schemas.openxmlformats.org/officeDocument/2006/relationships/slideLayout" Target="../slideLayouts/slideLayout252.xml"/><Relationship Id="rId273" Type="http://schemas.openxmlformats.org/officeDocument/2006/relationships/slideLayout" Target="../slideLayouts/slideLayout273.xml"/><Relationship Id="rId294" Type="http://schemas.openxmlformats.org/officeDocument/2006/relationships/slideLayout" Target="../slideLayouts/slideLayout294.xml"/><Relationship Id="rId308" Type="http://schemas.openxmlformats.org/officeDocument/2006/relationships/slideLayout" Target="../slideLayouts/slideLayout308.xml"/><Relationship Id="rId329" Type="http://schemas.openxmlformats.org/officeDocument/2006/relationships/slideLayout" Target="../slideLayouts/slideLayout329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75" Type="http://schemas.openxmlformats.org/officeDocument/2006/relationships/slideLayout" Target="../slideLayouts/slideLayout175.xml"/><Relationship Id="rId340" Type="http://schemas.openxmlformats.org/officeDocument/2006/relationships/slideLayout" Target="../slideLayouts/slideLayout340.xml"/><Relationship Id="rId196" Type="http://schemas.openxmlformats.org/officeDocument/2006/relationships/slideLayout" Target="../slideLayouts/slideLayout196.xml"/><Relationship Id="rId200" Type="http://schemas.openxmlformats.org/officeDocument/2006/relationships/slideLayout" Target="../slideLayouts/slideLayout200.xml"/><Relationship Id="rId16" Type="http://schemas.openxmlformats.org/officeDocument/2006/relationships/slideLayout" Target="../slideLayouts/slideLayout16.xml"/><Relationship Id="rId221" Type="http://schemas.openxmlformats.org/officeDocument/2006/relationships/slideLayout" Target="../slideLayouts/slideLayout221.xml"/><Relationship Id="rId242" Type="http://schemas.openxmlformats.org/officeDocument/2006/relationships/slideLayout" Target="../slideLayouts/slideLayout242.xml"/><Relationship Id="rId263" Type="http://schemas.openxmlformats.org/officeDocument/2006/relationships/slideLayout" Target="../slideLayouts/slideLayout263.xml"/><Relationship Id="rId284" Type="http://schemas.openxmlformats.org/officeDocument/2006/relationships/slideLayout" Target="../slideLayouts/slideLayout284.xml"/><Relationship Id="rId319" Type="http://schemas.openxmlformats.org/officeDocument/2006/relationships/slideLayout" Target="../slideLayouts/slideLayout319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330" Type="http://schemas.openxmlformats.org/officeDocument/2006/relationships/slideLayout" Target="../slideLayouts/slideLayout330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186" Type="http://schemas.openxmlformats.org/officeDocument/2006/relationships/slideLayout" Target="../slideLayouts/slideLayout186.xml"/><Relationship Id="rId211" Type="http://schemas.openxmlformats.org/officeDocument/2006/relationships/slideLayout" Target="../slideLayouts/slideLayout211.xml"/><Relationship Id="rId232" Type="http://schemas.openxmlformats.org/officeDocument/2006/relationships/slideLayout" Target="../slideLayouts/slideLayout232.xml"/><Relationship Id="rId253" Type="http://schemas.openxmlformats.org/officeDocument/2006/relationships/slideLayout" Target="../slideLayouts/slideLayout253.xml"/><Relationship Id="rId274" Type="http://schemas.openxmlformats.org/officeDocument/2006/relationships/slideLayout" Target="../slideLayouts/slideLayout274.xml"/><Relationship Id="rId295" Type="http://schemas.openxmlformats.org/officeDocument/2006/relationships/slideLayout" Target="../slideLayouts/slideLayout295.xml"/><Relationship Id="rId309" Type="http://schemas.openxmlformats.org/officeDocument/2006/relationships/slideLayout" Target="../slideLayouts/slideLayout309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320" Type="http://schemas.openxmlformats.org/officeDocument/2006/relationships/slideLayout" Target="../slideLayouts/slideLayout320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6" Type="http://schemas.openxmlformats.org/officeDocument/2006/relationships/slideLayout" Target="../slideLayouts/slideLayout176.xml"/><Relationship Id="rId197" Type="http://schemas.openxmlformats.org/officeDocument/2006/relationships/slideLayout" Target="../slideLayouts/slideLayout197.xml"/><Relationship Id="rId341" Type="http://schemas.openxmlformats.org/officeDocument/2006/relationships/slideLayout" Target="../slideLayouts/slideLayout341.xml"/><Relationship Id="rId201" Type="http://schemas.openxmlformats.org/officeDocument/2006/relationships/slideLayout" Target="../slideLayouts/slideLayout201.xml"/><Relationship Id="rId222" Type="http://schemas.openxmlformats.org/officeDocument/2006/relationships/slideLayout" Target="../slideLayouts/slideLayout222.xml"/><Relationship Id="rId243" Type="http://schemas.openxmlformats.org/officeDocument/2006/relationships/slideLayout" Target="../slideLayouts/slideLayout243.xml"/><Relationship Id="rId264" Type="http://schemas.openxmlformats.org/officeDocument/2006/relationships/slideLayout" Target="../slideLayouts/slideLayout264.xml"/><Relationship Id="rId285" Type="http://schemas.openxmlformats.org/officeDocument/2006/relationships/slideLayout" Target="../slideLayouts/slideLayout285.xml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Relationship Id="rId310" Type="http://schemas.openxmlformats.org/officeDocument/2006/relationships/slideLayout" Target="../slideLayouts/slideLayout310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331" Type="http://schemas.openxmlformats.org/officeDocument/2006/relationships/slideLayout" Target="../slideLayouts/slideLayout331.xml"/><Relationship Id="rId1" Type="http://schemas.openxmlformats.org/officeDocument/2006/relationships/slideLayout" Target="../slideLayouts/slideLayout1.xml"/><Relationship Id="rId212" Type="http://schemas.openxmlformats.org/officeDocument/2006/relationships/slideLayout" Target="../slideLayouts/slideLayout212.xml"/><Relationship Id="rId233" Type="http://schemas.openxmlformats.org/officeDocument/2006/relationships/slideLayout" Target="../slideLayouts/slideLayout233.xml"/><Relationship Id="rId254" Type="http://schemas.openxmlformats.org/officeDocument/2006/relationships/slideLayout" Target="../slideLayouts/slideLayout254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275" Type="http://schemas.openxmlformats.org/officeDocument/2006/relationships/slideLayout" Target="../slideLayouts/slideLayout275.xml"/><Relationship Id="rId296" Type="http://schemas.openxmlformats.org/officeDocument/2006/relationships/slideLayout" Target="../slideLayouts/slideLayout296.xml"/><Relationship Id="rId300" Type="http://schemas.openxmlformats.org/officeDocument/2006/relationships/slideLayout" Target="../slideLayouts/slideLayout300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Relationship Id="rId198" Type="http://schemas.openxmlformats.org/officeDocument/2006/relationships/slideLayout" Target="../slideLayouts/slideLayout198.xml"/><Relationship Id="rId321" Type="http://schemas.openxmlformats.org/officeDocument/2006/relationships/slideLayout" Target="../slideLayouts/slideLayout321.xml"/><Relationship Id="rId342" Type="http://schemas.openxmlformats.org/officeDocument/2006/relationships/slideLayout" Target="../slideLayouts/slideLayout342.xml"/><Relationship Id="rId202" Type="http://schemas.openxmlformats.org/officeDocument/2006/relationships/slideLayout" Target="../slideLayouts/slideLayout202.xml"/><Relationship Id="rId223" Type="http://schemas.openxmlformats.org/officeDocument/2006/relationships/slideLayout" Target="../slideLayouts/slideLayout223.xml"/><Relationship Id="rId244" Type="http://schemas.openxmlformats.org/officeDocument/2006/relationships/slideLayout" Target="../slideLayouts/slideLayout244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265" Type="http://schemas.openxmlformats.org/officeDocument/2006/relationships/slideLayout" Target="../slideLayouts/slideLayout265.xml"/><Relationship Id="rId286" Type="http://schemas.openxmlformats.org/officeDocument/2006/relationships/slideLayout" Target="../slideLayouts/slideLayout286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25" Type="http://schemas.openxmlformats.org/officeDocument/2006/relationships/slideLayout" Target="../slideLayouts/slideLayout125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311" Type="http://schemas.openxmlformats.org/officeDocument/2006/relationships/slideLayout" Target="../slideLayouts/slideLayout311.xml"/><Relationship Id="rId332" Type="http://schemas.openxmlformats.org/officeDocument/2006/relationships/slideLayout" Target="../slideLayouts/slideLayout332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234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55" Type="http://schemas.openxmlformats.org/officeDocument/2006/relationships/slideLayout" Target="../slideLayouts/slideLayout255.xml"/><Relationship Id="rId276" Type="http://schemas.openxmlformats.org/officeDocument/2006/relationships/slideLayout" Target="../slideLayouts/slideLayout276.xml"/><Relationship Id="rId297" Type="http://schemas.openxmlformats.org/officeDocument/2006/relationships/slideLayout" Target="../slideLayouts/slideLayout297.xml"/><Relationship Id="rId40" Type="http://schemas.openxmlformats.org/officeDocument/2006/relationships/slideLayout" Target="../slideLayouts/slideLayout40.xml"/><Relationship Id="rId115" Type="http://schemas.openxmlformats.org/officeDocument/2006/relationships/slideLayout" Target="../slideLayouts/slideLayout115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301" Type="http://schemas.openxmlformats.org/officeDocument/2006/relationships/slideLayout" Target="../slideLayouts/slideLayout301.xml"/><Relationship Id="rId322" Type="http://schemas.openxmlformats.org/officeDocument/2006/relationships/slideLayout" Target="../slideLayouts/slideLayout322.xml"/><Relationship Id="rId343" Type="http://schemas.openxmlformats.org/officeDocument/2006/relationships/theme" Target="../theme/theme1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9" Type="http://schemas.openxmlformats.org/officeDocument/2006/relationships/slideLayout" Target="../slideLayouts/slideLayout199.xml"/><Relationship Id="rId203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19.xml"/><Relationship Id="rId224" Type="http://schemas.openxmlformats.org/officeDocument/2006/relationships/slideLayout" Target="../slideLayouts/slideLayout224.xml"/><Relationship Id="rId245" Type="http://schemas.openxmlformats.org/officeDocument/2006/relationships/slideLayout" Target="../slideLayouts/slideLayout245.xml"/><Relationship Id="rId266" Type="http://schemas.openxmlformats.org/officeDocument/2006/relationships/slideLayout" Target="../slideLayouts/slideLayout266.xml"/><Relationship Id="rId287" Type="http://schemas.openxmlformats.org/officeDocument/2006/relationships/slideLayout" Target="../slideLayouts/slideLayout287.xml"/><Relationship Id="rId30" Type="http://schemas.openxmlformats.org/officeDocument/2006/relationships/slideLayout" Target="../slideLayouts/slideLayout3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312" Type="http://schemas.openxmlformats.org/officeDocument/2006/relationships/slideLayout" Target="../slideLayouts/slideLayout312.xml"/><Relationship Id="rId333" Type="http://schemas.openxmlformats.org/officeDocument/2006/relationships/slideLayout" Target="../slideLayouts/slideLayout333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189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3.xml"/><Relationship Id="rId214" Type="http://schemas.openxmlformats.org/officeDocument/2006/relationships/slideLayout" Target="../slideLayouts/slideLayout214.xml"/><Relationship Id="rId235" Type="http://schemas.openxmlformats.org/officeDocument/2006/relationships/slideLayout" Target="../slideLayouts/slideLayout235.xml"/><Relationship Id="rId256" Type="http://schemas.openxmlformats.org/officeDocument/2006/relationships/slideLayout" Target="../slideLayouts/slideLayout256.xml"/><Relationship Id="rId277" Type="http://schemas.openxmlformats.org/officeDocument/2006/relationships/slideLayout" Target="../slideLayouts/slideLayout277.xml"/><Relationship Id="rId298" Type="http://schemas.openxmlformats.org/officeDocument/2006/relationships/slideLayout" Target="../slideLayouts/slideLayout29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jpeg"/><Relationship Id="rId3" Type="http://schemas.openxmlformats.org/officeDocument/2006/relationships/slideLayout" Target="../slideLayouts/slideLayout34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344.xml"/><Relationship Id="rId1" Type="http://schemas.openxmlformats.org/officeDocument/2006/relationships/slideLayout" Target="../slideLayouts/slideLayout343.xml"/><Relationship Id="rId6" Type="http://schemas.openxmlformats.org/officeDocument/2006/relationships/slideLayout" Target="../slideLayouts/slideLayout348.xml"/><Relationship Id="rId5" Type="http://schemas.openxmlformats.org/officeDocument/2006/relationships/slideLayout" Target="../slideLayouts/slideLayout347.xml"/><Relationship Id="rId4" Type="http://schemas.openxmlformats.org/officeDocument/2006/relationships/slideLayout" Target="../slideLayouts/slideLayout34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6.xml"/><Relationship Id="rId3" Type="http://schemas.openxmlformats.org/officeDocument/2006/relationships/slideLayout" Target="../slideLayouts/slideLayout351.xml"/><Relationship Id="rId7" Type="http://schemas.openxmlformats.org/officeDocument/2006/relationships/slideLayout" Target="../slideLayouts/slideLayout35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50.xml"/><Relationship Id="rId1" Type="http://schemas.openxmlformats.org/officeDocument/2006/relationships/slideLayout" Target="../slideLayouts/slideLayout349.xml"/><Relationship Id="rId6" Type="http://schemas.openxmlformats.org/officeDocument/2006/relationships/slideLayout" Target="../slideLayouts/slideLayout354.xml"/><Relationship Id="rId11" Type="http://schemas.openxmlformats.org/officeDocument/2006/relationships/slideLayout" Target="../slideLayouts/slideLayout359.xml"/><Relationship Id="rId5" Type="http://schemas.openxmlformats.org/officeDocument/2006/relationships/slideLayout" Target="../slideLayouts/slideLayout353.xml"/><Relationship Id="rId10" Type="http://schemas.openxmlformats.org/officeDocument/2006/relationships/slideLayout" Target="../slideLayouts/slideLayout358.xml"/><Relationship Id="rId4" Type="http://schemas.openxmlformats.org/officeDocument/2006/relationships/slideLayout" Target="../slideLayouts/slideLayout352.xml"/><Relationship Id="rId9" Type="http://schemas.openxmlformats.org/officeDocument/2006/relationships/slideLayout" Target="../slideLayouts/slideLayout35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7.xml"/><Relationship Id="rId13" Type="http://schemas.openxmlformats.org/officeDocument/2006/relationships/slideLayout" Target="../slideLayouts/slideLayout372.xml"/><Relationship Id="rId18" Type="http://schemas.openxmlformats.org/officeDocument/2006/relationships/slideLayout" Target="../slideLayouts/slideLayout377.xml"/><Relationship Id="rId3" Type="http://schemas.openxmlformats.org/officeDocument/2006/relationships/slideLayout" Target="../slideLayouts/slideLayout362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366.xml"/><Relationship Id="rId12" Type="http://schemas.openxmlformats.org/officeDocument/2006/relationships/slideLayout" Target="../slideLayouts/slideLayout371.xml"/><Relationship Id="rId17" Type="http://schemas.openxmlformats.org/officeDocument/2006/relationships/slideLayout" Target="../slideLayouts/slideLayout376.xml"/><Relationship Id="rId2" Type="http://schemas.openxmlformats.org/officeDocument/2006/relationships/slideLayout" Target="../slideLayouts/slideLayout361.xml"/><Relationship Id="rId16" Type="http://schemas.openxmlformats.org/officeDocument/2006/relationships/slideLayout" Target="../slideLayouts/slideLayout375.xml"/><Relationship Id="rId20" Type="http://schemas.openxmlformats.org/officeDocument/2006/relationships/slideLayout" Target="../slideLayouts/slideLayout379.xml"/><Relationship Id="rId1" Type="http://schemas.openxmlformats.org/officeDocument/2006/relationships/slideLayout" Target="../slideLayouts/slideLayout360.xml"/><Relationship Id="rId6" Type="http://schemas.openxmlformats.org/officeDocument/2006/relationships/slideLayout" Target="../slideLayouts/slideLayout365.xml"/><Relationship Id="rId11" Type="http://schemas.openxmlformats.org/officeDocument/2006/relationships/slideLayout" Target="../slideLayouts/slideLayout370.xml"/><Relationship Id="rId5" Type="http://schemas.openxmlformats.org/officeDocument/2006/relationships/slideLayout" Target="../slideLayouts/slideLayout364.xml"/><Relationship Id="rId15" Type="http://schemas.openxmlformats.org/officeDocument/2006/relationships/slideLayout" Target="../slideLayouts/slideLayout374.xml"/><Relationship Id="rId23" Type="http://schemas.openxmlformats.org/officeDocument/2006/relationships/image" Target="../media/image46.png"/><Relationship Id="rId10" Type="http://schemas.openxmlformats.org/officeDocument/2006/relationships/slideLayout" Target="../slideLayouts/slideLayout369.xml"/><Relationship Id="rId19" Type="http://schemas.openxmlformats.org/officeDocument/2006/relationships/slideLayout" Target="../slideLayouts/slideLayout378.xml"/><Relationship Id="rId4" Type="http://schemas.openxmlformats.org/officeDocument/2006/relationships/slideLayout" Target="../slideLayouts/slideLayout363.xml"/><Relationship Id="rId9" Type="http://schemas.openxmlformats.org/officeDocument/2006/relationships/slideLayout" Target="../slideLayouts/slideLayout368.xml"/><Relationship Id="rId14" Type="http://schemas.openxmlformats.org/officeDocument/2006/relationships/slideLayout" Target="../slideLayouts/slideLayout373.xml"/><Relationship Id="rId22" Type="http://schemas.openxmlformats.org/officeDocument/2006/relationships/tags" Target="../tags/tag1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7.xml"/><Relationship Id="rId13" Type="http://schemas.openxmlformats.org/officeDocument/2006/relationships/customXml" Target="../../customXml/item1.xml"/><Relationship Id="rId3" Type="http://schemas.openxmlformats.org/officeDocument/2006/relationships/slideLayout" Target="../slideLayouts/slideLayout382.xml"/><Relationship Id="rId7" Type="http://schemas.openxmlformats.org/officeDocument/2006/relationships/slideLayout" Target="../slideLayouts/slideLayout38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81.xml"/><Relationship Id="rId1" Type="http://schemas.openxmlformats.org/officeDocument/2006/relationships/slideLayout" Target="../slideLayouts/slideLayout380.xml"/><Relationship Id="rId6" Type="http://schemas.openxmlformats.org/officeDocument/2006/relationships/slideLayout" Target="../slideLayouts/slideLayout385.xml"/><Relationship Id="rId11" Type="http://schemas.openxmlformats.org/officeDocument/2006/relationships/slideLayout" Target="../slideLayouts/slideLayout390.xml"/><Relationship Id="rId5" Type="http://schemas.openxmlformats.org/officeDocument/2006/relationships/slideLayout" Target="../slideLayouts/slideLayout384.xml"/><Relationship Id="rId15" Type="http://schemas.openxmlformats.org/officeDocument/2006/relationships/image" Target="../media/image46.png"/><Relationship Id="rId10" Type="http://schemas.openxmlformats.org/officeDocument/2006/relationships/slideLayout" Target="../slideLayouts/slideLayout389.xml"/><Relationship Id="rId4" Type="http://schemas.openxmlformats.org/officeDocument/2006/relationships/slideLayout" Target="../slideLayouts/slideLayout383.xml"/><Relationship Id="rId9" Type="http://schemas.openxmlformats.org/officeDocument/2006/relationships/slideLayout" Target="../slideLayouts/slideLayout388.xml"/><Relationship Id="rId14" Type="http://schemas.openxmlformats.org/officeDocument/2006/relationships/tags" Target="../tags/tag3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8.xml"/><Relationship Id="rId13" Type="http://schemas.openxmlformats.org/officeDocument/2006/relationships/slideLayout" Target="../slideLayouts/slideLayout403.xml"/><Relationship Id="rId3" Type="http://schemas.openxmlformats.org/officeDocument/2006/relationships/slideLayout" Target="../slideLayouts/slideLayout393.xml"/><Relationship Id="rId7" Type="http://schemas.openxmlformats.org/officeDocument/2006/relationships/slideLayout" Target="../slideLayouts/slideLayout397.xml"/><Relationship Id="rId12" Type="http://schemas.openxmlformats.org/officeDocument/2006/relationships/slideLayout" Target="../slideLayouts/slideLayout402.xml"/><Relationship Id="rId17" Type="http://schemas.openxmlformats.org/officeDocument/2006/relationships/image" Target="../media/image46.png"/><Relationship Id="rId2" Type="http://schemas.openxmlformats.org/officeDocument/2006/relationships/slideLayout" Target="../slideLayouts/slideLayout392.xml"/><Relationship Id="rId16" Type="http://schemas.openxmlformats.org/officeDocument/2006/relationships/tags" Target="../tags/tag45.xml"/><Relationship Id="rId1" Type="http://schemas.openxmlformats.org/officeDocument/2006/relationships/slideLayout" Target="../slideLayouts/slideLayout391.xml"/><Relationship Id="rId6" Type="http://schemas.openxmlformats.org/officeDocument/2006/relationships/slideLayout" Target="../slideLayouts/slideLayout396.xml"/><Relationship Id="rId11" Type="http://schemas.openxmlformats.org/officeDocument/2006/relationships/slideLayout" Target="../slideLayouts/slideLayout401.xml"/><Relationship Id="rId5" Type="http://schemas.openxmlformats.org/officeDocument/2006/relationships/slideLayout" Target="../slideLayouts/slideLayout395.xml"/><Relationship Id="rId15" Type="http://schemas.openxmlformats.org/officeDocument/2006/relationships/customXml" Target="../../customXml/item2.xml"/><Relationship Id="rId10" Type="http://schemas.openxmlformats.org/officeDocument/2006/relationships/slideLayout" Target="../slideLayouts/slideLayout400.xml"/><Relationship Id="rId4" Type="http://schemas.openxmlformats.org/officeDocument/2006/relationships/slideLayout" Target="../slideLayouts/slideLayout394.xml"/><Relationship Id="rId9" Type="http://schemas.openxmlformats.org/officeDocument/2006/relationships/slideLayout" Target="../slideLayouts/slideLayout399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29.xml"/><Relationship Id="rId21" Type="http://schemas.openxmlformats.org/officeDocument/2006/relationships/slideLayout" Target="../slideLayouts/slideLayout424.xml"/><Relationship Id="rId42" Type="http://schemas.openxmlformats.org/officeDocument/2006/relationships/slideLayout" Target="../slideLayouts/slideLayout445.xml"/><Relationship Id="rId47" Type="http://schemas.openxmlformats.org/officeDocument/2006/relationships/slideLayout" Target="../slideLayouts/slideLayout450.xml"/><Relationship Id="rId63" Type="http://schemas.openxmlformats.org/officeDocument/2006/relationships/slideLayout" Target="../slideLayouts/slideLayout466.xml"/><Relationship Id="rId68" Type="http://schemas.openxmlformats.org/officeDocument/2006/relationships/slideLayout" Target="../slideLayouts/slideLayout471.xml"/><Relationship Id="rId84" Type="http://schemas.openxmlformats.org/officeDocument/2006/relationships/slideLayout" Target="../slideLayouts/slideLayout487.xml"/><Relationship Id="rId89" Type="http://schemas.openxmlformats.org/officeDocument/2006/relationships/slideLayout" Target="../slideLayouts/slideLayout492.xml"/><Relationship Id="rId7" Type="http://schemas.openxmlformats.org/officeDocument/2006/relationships/slideLayout" Target="../slideLayouts/slideLayout410.xml"/><Relationship Id="rId71" Type="http://schemas.openxmlformats.org/officeDocument/2006/relationships/slideLayout" Target="../slideLayouts/slideLayout474.xml"/><Relationship Id="rId92" Type="http://schemas.openxmlformats.org/officeDocument/2006/relationships/slideLayout" Target="../slideLayouts/slideLayout495.xml"/><Relationship Id="rId2" Type="http://schemas.openxmlformats.org/officeDocument/2006/relationships/slideLayout" Target="../slideLayouts/slideLayout405.xml"/><Relationship Id="rId16" Type="http://schemas.openxmlformats.org/officeDocument/2006/relationships/slideLayout" Target="../slideLayouts/slideLayout419.xml"/><Relationship Id="rId29" Type="http://schemas.openxmlformats.org/officeDocument/2006/relationships/slideLayout" Target="../slideLayouts/slideLayout432.xml"/><Relationship Id="rId11" Type="http://schemas.openxmlformats.org/officeDocument/2006/relationships/slideLayout" Target="../slideLayouts/slideLayout414.xml"/><Relationship Id="rId24" Type="http://schemas.openxmlformats.org/officeDocument/2006/relationships/slideLayout" Target="../slideLayouts/slideLayout427.xml"/><Relationship Id="rId32" Type="http://schemas.openxmlformats.org/officeDocument/2006/relationships/slideLayout" Target="../slideLayouts/slideLayout435.xml"/><Relationship Id="rId37" Type="http://schemas.openxmlformats.org/officeDocument/2006/relationships/slideLayout" Target="../slideLayouts/slideLayout440.xml"/><Relationship Id="rId40" Type="http://schemas.openxmlformats.org/officeDocument/2006/relationships/slideLayout" Target="../slideLayouts/slideLayout443.xml"/><Relationship Id="rId45" Type="http://schemas.openxmlformats.org/officeDocument/2006/relationships/slideLayout" Target="../slideLayouts/slideLayout448.xml"/><Relationship Id="rId53" Type="http://schemas.openxmlformats.org/officeDocument/2006/relationships/slideLayout" Target="../slideLayouts/slideLayout456.xml"/><Relationship Id="rId58" Type="http://schemas.openxmlformats.org/officeDocument/2006/relationships/slideLayout" Target="../slideLayouts/slideLayout461.xml"/><Relationship Id="rId66" Type="http://schemas.openxmlformats.org/officeDocument/2006/relationships/slideLayout" Target="../slideLayouts/slideLayout469.xml"/><Relationship Id="rId74" Type="http://schemas.openxmlformats.org/officeDocument/2006/relationships/slideLayout" Target="../slideLayouts/slideLayout477.xml"/><Relationship Id="rId79" Type="http://schemas.openxmlformats.org/officeDocument/2006/relationships/slideLayout" Target="../slideLayouts/slideLayout482.xml"/><Relationship Id="rId87" Type="http://schemas.openxmlformats.org/officeDocument/2006/relationships/slideLayout" Target="../slideLayouts/slideLayout490.xml"/><Relationship Id="rId102" Type="http://schemas.openxmlformats.org/officeDocument/2006/relationships/slideLayout" Target="../slideLayouts/slideLayout505.xml"/><Relationship Id="rId5" Type="http://schemas.openxmlformats.org/officeDocument/2006/relationships/slideLayout" Target="../slideLayouts/slideLayout408.xml"/><Relationship Id="rId61" Type="http://schemas.openxmlformats.org/officeDocument/2006/relationships/slideLayout" Target="../slideLayouts/slideLayout464.xml"/><Relationship Id="rId82" Type="http://schemas.openxmlformats.org/officeDocument/2006/relationships/slideLayout" Target="../slideLayouts/slideLayout485.xml"/><Relationship Id="rId90" Type="http://schemas.openxmlformats.org/officeDocument/2006/relationships/slideLayout" Target="../slideLayouts/slideLayout493.xml"/><Relationship Id="rId95" Type="http://schemas.openxmlformats.org/officeDocument/2006/relationships/slideLayout" Target="../slideLayouts/slideLayout498.xml"/><Relationship Id="rId19" Type="http://schemas.openxmlformats.org/officeDocument/2006/relationships/slideLayout" Target="../slideLayouts/slideLayout422.xml"/><Relationship Id="rId14" Type="http://schemas.openxmlformats.org/officeDocument/2006/relationships/slideLayout" Target="../slideLayouts/slideLayout417.xml"/><Relationship Id="rId22" Type="http://schemas.openxmlformats.org/officeDocument/2006/relationships/slideLayout" Target="../slideLayouts/slideLayout425.xml"/><Relationship Id="rId27" Type="http://schemas.openxmlformats.org/officeDocument/2006/relationships/slideLayout" Target="../slideLayouts/slideLayout430.xml"/><Relationship Id="rId30" Type="http://schemas.openxmlformats.org/officeDocument/2006/relationships/slideLayout" Target="../slideLayouts/slideLayout433.xml"/><Relationship Id="rId35" Type="http://schemas.openxmlformats.org/officeDocument/2006/relationships/slideLayout" Target="../slideLayouts/slideLayout438.xml"/><Relationship Id="rId43" Type="http://schemas.openxmlformats.org/officeDocument/2006/relationships/slideLayout" Target="../slideLayouts/slideLayout446.xml"/><Relationship Id="rId48" Type="http://schemas.openxmlformats.org/officeDocument/2006/relationships/slideLayout" Target="../slideLayouts/slideLayout451.xml"/><Relationship Id="rId56" Type="http://schemas.openxmlformats.org/officeDocument/2006/relationships/slideLayout" Target="../slideLayouts/slideLayout459.xml"/><Relationship Id="rId64" Type="http://schemas.openxmlformats.org/officeDocument/2006/relationships/slideLayout" Target="../slideLayouts/slideLayout467.xml"/><Relationship Id="rId69" Type="http://schemas.openxmlformats.org/officeDocument/2006/relationships/slideLayout" Target="../slideLayouts/slideLayout472.xml"/><Relationship Id="rId77" Type="http://schemas.openxmlformats.org/officeDocument/2006/relationships/slideLayout" Target="../slideLayouts/slideLayout480.xml"/><Relationship Id="rId100" Type="http://schemas.openxmlformats.org/officeDocument/2006/relationships/slideLayout" Target="../slideLayouts/slideLayout503.xml"/><Relationship Id="rId105" Type="http://schemas.openxmlformats.org/officeDocument/2006/relationships/theme" Target="../theme/theme7.xml"/><Relationship Id="rId8" Type="http://schemas.openxmlformats.org/officeDocument/2006/relationships/slideLayout" Target="../slideLayouts/slideLayout411.xml"/><Relationship Id="rId51" Type="http://schemas.openxmlformats.org/officeDocument/2006/relationships/slideLayout" Target="../slideLayouts/slideLayout454.xml"/><Relationship Id="rId72" Type="http://schemas.openxmlformats.org/officeDocument/2006/relationships/slideLayout" Target="../slideLayouts/slideLayout475.xml"/><Relationship Id="rId80" Type="http://schemas.openxmlformats.org/officeDocument/2006/relationships/slideLayout" Target="../slideLayouts/slideLayout483.xml"/><Relationship Id="rId85" Type="http://schemas.openxmlformats.org/officeDocument/2006/relationships/slideLayout" Target="../slideLayouts/slideLayout488.xml"/><Relationship Id="rId93" Type="http://schemas.openxmlformats.org/officeDocument/2006/relationships/slideLayout" Target="../slideLayouts/slideLayout496.xml"/><Relationship Id="rId98" Type="http://schemas.openxmlformats.org/officeDocument/2006/relationships/slideLayout" Target="../slideLayouts/slideLayout501.xml"/><Relationship Id="rId3" Type="http://schemas.openxmlformats.org/officeDocument/2006/relationships/slideLayout" Target="../slideLayouts/slideLayout406.xml"/><Relationship Id="rId12" Type="http://schemas.openxmlformats.org/officeDocument/2006/relationships/slideLayout" Target="../slideLayouts/slideLayout415.xml"/><Relationship Id="rId17" Type="http://schemas.openxmlformats.org/officeDocument/2006/relationships/slideLayout" Target="../slideLayouts/slideLayout420.xml"/><Relationship Id="rId25" Type="http://schemas.openxmlformats.org/officeDocument/2006/relationships/slideLayout" Target="../slideLayouts/slideLayout428.xml"/><Relationship Id="rId33" Type="http://schemas.openxmlformats.org/officeDocument/2006/relationships/slideLayout" Target="../slideLayouts/slideLayout436.xml"/><Relationship Id="rId38" Type="http://schemas.openxmlformats.org/officeDocument/2006/relationships/slideLayout" Target="../slideLayouts/slideLayout441.xml"/><Relationship Id="rId46" Type="http://schemas.openxmlformats.org/officeDocument/2006/relationships/slideLayout" Target="../slideLayouts/slideLayout449.xml"/><Relationship Id="rId59" Type="http://schemas.openxmlformats.org/officeDocument/2006/relationships/slideLayout" Target="../slideLayouts/slideLayout462.xml"/><Relationship Id="rId67" Type="http://schemas.openxmlformats.org/officeDocument/2006/relationships/slideLayout" Target="../slideLayouts/slideLayout470.xml"/><Relationship Id="rId103" Type="http://schemas.openxmlformats.org/officeDocument/2006/relationships/slideLayout" Target="../slideLayouts/slideLayout506.xml"/><Relationship Id="rId20" Type="http://schemas.openxmlformats.org/officeDocument/2006/relationships/slideLayout" Target="../slideLayouts/slideLayout423.xml"/><Relationship Id="rId41" Type="http://schemas.openxmlformats.org/officeDocument/2006/relationships/slideLayout" Target="../slideLayouts/slideLayout444.xml"/><Relationship Id="rId54" Type="http://schemas.openxmlformats.org/officeDocument/2006/relationships/slideLayout" Target="../slideLayouts/slideLayout457.xml"/><Relationship Id="rId62" Type="http://schemas.openxmlformats.org/officeDocument/2006/relationships/slideLayout" Target="../slideLayouts/slideLayout465.xml"/><Relationship Id="rId70" Type="http://schemas.openxmlformats.org/officeDocument/2006/relationships/slideLayout" Target="../slideLayouts/slideLayout473.xml"/><Relationship Id="rId75" Type="http://schemas.openxmlformats.org/officeDocument/2006/relationships/slideLayout" Target="../slideLayouts/slideLayout478.xml"/><Relationship Id="rId83" Type="http://schemas.openxmlformats.org/officeDocument/2006/relationships/slideLayout" Target="../slideLayouts/slideLayout486.xml"/><Relationship Id="rId88" Type="http://schemas.openxmlformats.org/officeDocument/2006/relationships/slideLayout" Target="../slideLayouts/slideLayout491.xml"/><Relationship Id="rId91" Type="http://schemas.openxmlformats.org/officeDocument/2006/relationships/slideLayout" Target="../slideLayouts/slideLayout494.xml"/><Relationship Id="rId96" Type="http://schemas.openxmlformats.org/officeDocument/2006/relationships/slideLayout" Target="../slideLayouts/slideLayout499.xml"/><Relationship Id="rId1" Type="http://schemas.openxmlformats.org/officeDocument/2006/relationships/slideLayout" Target="../slideLayouts/slideLayout404.xml"/><Relationship Id="rId6" Type="http://schemas.openxmlformats.org/officeDocument/2006/relationships/slideLayout" Target="../slideLayouts/slideLayout409.xml"/><Relationship Id="rId15" Type="http://schemas.openxmlformats.org/officeDocument/2006/relationships/slideLayout" Target="../slideLayouts/slideLayout418.xml"/><Relationship Id="rId23" Type="http://schemas.openxmlformats.org/officeDocument/2006/relationships/slideLayout" Target="../slideLayouts/slideLayout426.xml"/><Relationship Id="rId28" Type="http://schemas.openxmlformats.org/officeDocument/2006/relationships/slideLayout" Target="../slideLayouts/slideLayout431.xml"/><Relationship Id="rId36" Type="http://schemas.openxmlformats.org/officeDocument/2006/relationships/slideLayout" Target="../slideLayouts/slideLayout439.xml"/><Relationship Id="rId49" Type="http://schemas.openxmlformats.org/officeDocument/2006/relationships/slideLayout" Target="../slideLayouts/slideLayout452.xml"/><Relationship Id="rId57" Type="http://schemas.openxmlformats.org/officeDocument/2006/relationships/slideLayout" Target="../slideLayouts/slideLayout460.xml"/><Relationship Id="rId10" Type="http://schemas.openxmlformats.org/officeDocument/2006/relationships/slideLayout" Target="../slideLayouts/slideLayout413.xml"/><Relationship Id="rId31" Type="http://schemas.openxmlformats.org/officeDocument/2006/relationships/slideLayout" Target="../slideLayouts/slideLayout434.xml"/><Relationship Id="rId44" Type="http://schemas.openxmlformats.org/officeDocument/2006/relationships/slideLayout" Target="../slideLayouts/slideLayout447.xml"/><Relationship Id="rId52" Type="http://schemas.openxmlformats.org/officeDocument/2006/relationships/slideLayout" Target="../slideLayouts/slideLayout455.xml"/><Relationship Id="rId60" Type="http://schemas.openxmlformats.org/officeDocument/2006/relationships/slideLayout" Target="../slideLayouts/slideLayout463.xml"/><Relationship Id="rId65" Type="http://schemas.openxmlformats.org/officeDocument/2006/relationships/slideLayout" Target="../slideLayouts/slideLayout468.xml"/><Relationship Id="rId73" Type="http://schemas.openxmlformats.org/officeDocument/2006/relationships/slideLayout" Target="../slideLayouts/slideLayout476.xml"/><Relationship Id="rId78" Type="http://schemas.openxmlformats.org/officeDocument/2006/relationships/slideLayout" Target="../slideLayouts/slideLayout481.xml"/><Relationship Id="rId81" Type="http://schemas.openxmlformats.org/officeDocument/2006/relationships/slideLayout" Target="../slideLayouts/slideLayout484.xml"/><Relationship Id="rId86" Type="http://schemas.openxmlformats.org/officeDocument/2006/relationships/slideLayout" Target="../slideLayouts/slideLayout489.xml"/><Relationship Id="rId94" Type="http://schemas.openxmlformats.org/officeDocument/2006/relationships/slideLayout" Target="../slideLayouts/slideLayout497.xml"/><Relationship Id="rId99" Type="http://schemas.openxmlformats.org/officeDocument/2006/relationships/slideLayout" Target="../slideLayouts/slideLayout502.xml"/><Relationship Id="rId101" Type="http://schemas.openxmlformats.org/officeDocument/2006/relationships/slideLayout" Target="../slideLayouts/slideLayout504.xml"/><Relationship Id="rId4" Type="http://schemas.openxmlformats.org/officeDocument/2006/relationships/slideLayout" Target="../slideLayouts/slideLayout407.xml"/><Relationship Id="rId9" Type="http://schemas.openxmlformats.org/officeDocument/2006/relationships/slideLayout" Target="../slideLayouts/slideLayout412.xml"/><Relationship Id="rId13" Type="http://schemas.openxmlformats.org/officeDocument/2006/relationships/slideLayout" Target="../slideLayouts/slideLayout416.xml"/><Relationship Id="rId18" Type="http://schemas.openxmlformats.org/officeDocument/2006/relationships/slideLayout" Target="../slideLayouts/slideLayout421.xml"/><Relationship Id="rId39" Type="http://schemas.openxmlformats.org/officeDocument/2006/relationships/slideLayout" Target="../slideLayouts/slideLayout442.xml"/><Relationship Id="rId34" Type="http://schemas.openxmlformats.org/officeDocument/2006/relationships/slideLayout" Target="../slideLayouts/slideLayout437.xml"/><Relationship Id="rId50" Type="http://schemas.openxmlformats.org/officeDocument/2006/relationships/slideLayout" Target="../slideLayouts/slideLayout453.xml"/><Relationship Id="rId55" Type="http://schemas.openxmlformats.org/officeDocument/2006/relationships/slideLayout" Target="../slideLayouts/slideLayout458.xml"/><Relationship Id="rId76" Type="http://schemas.openxmlformats.org/officeDocument/2006/relationships/slideLayout" Target="../slideLayouts/slideLayout479.xml"/><Relationship Id="rId97" Type="http://schemas.openxmlformats.org/officeDocument/2006/relationships/slideLayout" Target="../slideLayouts/slideLayout500.xml"/><Relationship Id="rId104" Type="http://schemas.openxmlformats.org/officeDocument/2006/relationships/slideLayout" Target="../slideLayouts/slideLayout50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5.xml"/><Relationship Id="rId13" Type="http://schemas.openxmlformats.org/officeDocument/2006/relationships/slideLayout" Target="../slideLayouts/slideLayout520.xml"/><Relationship Id="rId18" Type="http://schemas.openxmlformats.org/officeDocument/2006/relationships/slideLayout" Target="../slideLayouts/slideLayout525.xml"/><Relationship Id="rId26" Type="http://schemas.openxmlformats.org/officeDocument/2006/relationships/slideLayout" Target="../slideLayouts/slideLayout533.xml"/><Relationship Id="rId39" Type="http://schemas.openxmlformats.org/officeDocument/2006/relationships/slideLayout" Target="../slideLayouts/slideLayout546.xml"/><Relationship Id="rId3" Type="http://schemas.openxmlformats.org/officeDocument/2006/relationships/slideLayout" Target="../slideLayouts/slideLayout510.xml"/><Relationship Id="rId21" Type="http://schemas.openxmlformats.org/officeDocument/2006/relationships/slideLayout" Target="../slideLayouts/slideLayout528.xml"/><Relationship Id="rId34" Type="http://schemas.openxmlformats.org/officeDocument/2006/relationships/slideLayout" Target="../slideLayouts/slideLayout541.xml"/><Relationship Id="rId7" Type="http://schemas.openxmlformats.org/officeDocument/2006/relationships/slideLayout" Target="../slideLayouts/slideLayout514.xml"/><Relationship Id="rId12" Type="http://schemas.openxmlformats.org/officeDocument/2006/relationships/slideLayout" Target="../slideLayouts/slideLayout519.xml"/><Relationship Id="rId17" Type="http://schemas.openxmlformats.org/officeDocument/2006/relationships/slideLayout" Target="../slideLayouts/slideLayout524.xml"/><Relationship Id="rId25" Type="http://schemas.openxmlformats.org/officeDocument/2006/relationships/slideLayout" Target="../slideLayouts/slideLayout532.xml"/><Relationship Id="rId33" Type="http://schemas.openxmlformats.org/officeDocument/2006/relationships/slideLayout" Target="../slideLayouts/slideLayout540.xml"/><Relationship Id="rId38" Type="http://schemas.openxmlformats.org/officeDocument/2006/relationships/slideLayout" Target="../slideLayouts/slideLayout545.xml"/><Relationship Id="rId2" Type="http://schemas.openxmlformats.org/officeDocument/2006/relationships/slideLayout" Target="../slideLayouts/slideLayout509.xml"/><Relationship Id="rId16" Type="http://schemas.openxmlformats.org/officeDocument/2006/relationships/slideLayout" Target="../slideLayouts/slideLayout523.xml"/><Relationship Id="rId20" Type="http://schemas.openxmlformats.org/officeDocument/2006/relationships/slideLayout" Target="../slideLayouts/slideLayout527.xml"/><Relationship Id="rId29" Type="http://schemas.openxmlformats.org/officeDocument/2006/relationships/slideLayout" Target="../slideLayouts/slideLayout536.xml"/><Relationship Id="rId1" Type="http://schemas.openxmlformats.org/officeDocument/2006/relationships/slideLayout" Target="../slideLayouts/slideLayout508.xml"/><Relationship Id="rId6" Type="http://schemas.openxmlformats.org/officeDocument/2006/relationships/slideLayout" Target="../slideLayouts/slideLayout513.xml"/><Relationship Id="rId11" Type="http://schemas.openxmlformats.org/officeDocument/2006/relationships/slideLayout" Target="../slideLayouts/slideLayout518.xml"/><Relationship Id="rId24" Type="http://schemas.openxmlformats.org/officeDocument/2006/relationships/slideLayout" Target="../slideLayouts/slideLayout531.xml"/><Relationship Id="rId32" Type="http://schemas.openxmlformats.org/officeDocument/2006/relationships/slideLayout" Target="../slideLayouts/slideLayout539.xml"/><Relationship Id="rId37" Type="http://schemas.openxmlformats.org/officeDocument/2006/relationships/slideLayout" Target="../slideLayouts/slideLayout544.xml"/><Relationship Id="rId40" Type="http://schemas.openxmlformats.org/officeDocument/2006/relationships/theme" Target="../theme/theme8.xml"/><Relationship Id="rId5" Type="http://schemas.openxmlformats.org/officeDocument/2006/relationships/slideLayout" Target="../slideLayouts/slideLayout512.xml"/><Relationship Id="rId15" Type="http://schemas.openxmlformats.org/officeDocument/2006/relationships/slideLayout" Target="../slideLayouts/slideLayout522.xml"/><Relationship Id="rId23" Type="http://schemas.openxmlformats.org/officeDocument/2006/relationships/slideLayout" Target="../slideLayouts/slideLayout530.xml"/><Relationship Id="rId28" Type="http://schemas.openxmlformats.org/officeDocument/2006/relationships/slideLayout" Target="../slideLayouts/slideLayout535.xml"/><Relationship Id="rId36" Type="http://schemas.openxmlformats.org/officeDocument/2006/relationships/slideLayout" Target="../slideLayouts/slideLayout543.xml"/><Relationship Id="rId10" Type="http://schemas.openxmlformats.org/officeDocument/2006/relationships/slideLayout" Target="../slideLayouts/slideLayout517.xml"/><Relationship Id="rId19" Type="http://schemas.openxmlformats.org/officeDocument/2006/relationships/slideLayout" Target="../slideLayouts/slideLayout526.xml"/><Relationship Id="rId31" Type="http://schemas.openxmlformats.org/officeDocument/2006/relationships/slideLayout" Target="../slideLayouts/slideLayout538.xml"/><Relationship Id="rId4" Type="http://schemas.openxmlformats.org/officeDocument/2006/relationships/slideLayout" Target="../slideLayouts/slideLayout511.xml"/><Relationship Id="rId9" Type="http://schemas.openxmlformats.org/officeDocument/2006/relationships/slideLayout" Target="../slideLayouts/slideLayout516.xml"/><Relationship Id="rId14" Type="http://schemas.openxmlformats.org/officeDocument/2006/relationships/slideLayout" Target="../slideLayouts/slideLayout521.xml"/><Relationship Id="rId22" Type="http://schemas.openxmlformats.org/officeDocument/2006/relationships/slideLayout" Target="../slideLayouts/slideLayout529.xml"/><Relationship Id="rId27" Type="http://schemas.openxmlformats.org/officeDocument/2006/relationships/slideLayout" Target="../slideLayouts/slideLayout534.xml"/><Relationship Id="rId30" Type="http://schemas.openxmlformats.org/officeDocument/2006/relationships/slideLayout" Target="../slideLayouts/slideLayout537.xml"/><Relationship Id="rId35" Type="http://schemas.openxmlformats.org/officeDocument/2006/relationships/slideLayout" Target="../slideLayouts/slideLayout542.xml"/></Relationships>
</file>

<file path=ppt/slideMasters/_rels/slideMaster9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663.xml"/><Relationship Id="rId21" Type="http://schemas.openxmlformats.org/officeDocument/2006/relationships/slideLayout" Target="../slideLayouts/slideLayout567.xml"/><Relationship Id="rId42" Type="http://schemas.openxmlformats.org/officeDocument/2006/relationships/slideLayout" Target="../slideLayouts/slideLayout588.xml"/><Relationship Id="rId63" Type="http://schemas.openxmlformats.org/officeDocument/2006/relationships/slideLayout" Target="../slideLayouts/slideLayout609.xml"/><Relationship Id="rId84" Type="http://schemas.openxmlformats.org/officeDocument/2006/relationships/slideLayout" Target="../slideLayouts/slideLayout630.xml"/><Relationship Id="rId138" Type="http://schemas.openxmlformats.org/officeDocument/2006/relationships/slideLayout" Target="../slideLayouts/slideLayout684.xml"/><Relationship Id="rId159" Type="http://schemas.openxmlformats.org/officeDocument/2006/relationships/slideLayout" Target="../slideLayouts/slideLayout705.xml"/><Relationship Id="rId170" Type="http://schemas.openxmlformats.org/officeDocument/2006/relationships/slideLayout" Target="../slideLayouts/slideLayout716.xml"/><Relationship Id="rId191" Type="http://schemas.openxmlformats.org/officeDocument/2006/relationships/slideLayout" Target="../slideLayouts/slideLayout737.xml"/><Relationship Id="rId205" Type="http://schemas.openxmlformats.org/officeDocument/2006/relationships/slideLayout" Target="../slideLayouts/slideLayout751.xml"/><Relationship Id="rId226" Type="http://schemas.openxmlformats.org/officeDocument/2006/relationships/theme" Target="../theme/theme9.xml"/><Relationship Id="rId107" Type="http://schemas.openxmlformats.org/officeDocument/2006/relationships/slideLayout" Target="../slideLayouts/slideLayout653.xml"/><Relationship Id="rId11" Type="http://schemas.openxmlformats.org/officeDocument/2006/relationships/slideLayout" Target="../slideLayouts/slideLayout557.xml"/><Relationship Id="rId32" Type="http://schemas.openxmlformats.org/officeDocument/2006/relationships/slideLayout" Target="../slideLayouts/slideLayout578.xml"/><Relationship Id="rId53" Type="http://schemas.openxmlformats.org/officeDocument/2006/relationships/slideLayout" Target="../slideLayouts/slideLayout599.xml"/><Relationship Id="rId74" Type="http://schemas.openxmlformats.org/officeDocument/2006/relationships/slideLayout" Target="../slideLayouts/slideLayout620.xml"/><Relationship Id="rId128" Type="http://schemas.openxmlformats.org/officeDocument/2006/relationships/slideLayout" Target="../slideLayouts/slideLayout674.xml"/><Relationship Id="rId149" Type="http://schemas.openxmlformats.org/officeDocument/2006/relationships/slideLayout" Target="../slideLayouts/slideLayout695.xml"/><Relationship Id="rId5" Type="http://schemas.openxmlformats.org/officeDocument/2006/relationships/slideLayout" Target="../slideLayouts/slideLayout551.xml"/><Relationship Id="rId95" Type="http://schemas.openxmlformats.org/officeDocument/2006/relationships/slideLayout" Target="../slideLayouts/slideLayout641.xml"/><Relationship Id="rId160" Type="http://schemas.openxmlformats.org/officeDocument/2006/relationships/slideLayout" Target="../slideLayouts/slideLayout706.xml"/><Relationship Id="rId181" Type="http://schemas.openxmlformats.org/officeDocument/2006/relationships/slideLayout" Target="../slideLayouts/slideLayout727.xml"/><Relationship Id="rId216" Type="http://schemas.openxmlformats.org/officeDocument/2006/relationships/slideLayout" Target="../slideLayouts/slideLayout762.xml"/><Relationship Id="rId211" Type="http://schemas.openxmlformats.org/officeDocument/2006/relationships/slideLayout" Target="../slideLayouts/slideLayout757.xml"/><Relationship Id="rId22" Type="http://schemas.openxmlformats.org/officeDocument/2006/relationships/slideLayout" Target="../slideLayouts/slideLayout568.xml"/><Relationship Id="rId27" Type="http://schemas.openxmlformats.org/officeDocument/2006/relationships/slideLayout" Target="../slideLayouts/slideLayout573.xml"/><Relationship Id="rId43" Type="http://schemas.openxmlformats.org/officeDocument/2006/relationships/slideLayout" Target="../slideLayouts/slideLayout589.xml"/><Relationship Id="rId48" Type="http://schemas.openxmlformats.org/officeDocument/2006/relationships/slideLayout" Target="../slideLayouts/slideLayout594.xml"/><Relationship Id="rId64" Type="http://schemas.openxmlformats.org/officeDocument/2006/relationships/slideLayout" Target="../slideLayouts/slideLayout610.xml"/><Relationship Id="rId69" Type="http://schemas.openxmlformats.org/officeDocument/2006/relationships/slideLayout" Target="../slideLayouts/slideLayout615.xml"/><Relationship Id="rId113" Type="http://schemas.openxmlformats.org/officeDocument/2006/relationships/slideLayout" Target="../slideLayouts/slideLayout659.xml"/><Relationship Id="rId118" Type="http://schemas.openxmlformats.org/officeDocument/2006/relationships/slideLayout" Target="../slideLayouts/slideLayout664.xml"/><Relationship Id="rId134" Type="http://schemas.openxmlformats.org/officeDocument/2006/relationships/slideLayout" Target="../slideLayouts/slideLayout680.xml"/><Relationship Id="rId139" Type="http://schemas.openxmlformats.org/officeDocument/2006/relationships/slideLayout" Target="../slideLayouts/slideLayout685.xml"/><Relationship Id="rId80" Type="http://schemas.openxmlformats.org/officeDocument/2006/relationships/slideLayout" Target="../slideLayouts/slideLayout626.xml"/><Relationship Id="rId85" Type="http://schemas.openxmlformats.org/officeDocument/2006/relationships/slideLayout" Target="../slideLayouts/slideLayout631.xml"/><Relationship Id="rId150" Type="http://schemas.openxmlformats.org/officeDocument/2006/relationships/slideLayout" Target="../slideLayouts/slideLayout696.xml"/><Relationship Id="rId155" Type="http://schemas.openxmlformats.org/officeDocument/2006/relationships/slideLayout" Target="../slideLayouts/slideLayout701.xml"/><Relationship Id="rId171" Type="http://schemas.openxmlformats.org/officeDocument/2006/relationships/slideLayout" Target="../slideLayouts/slideLayout717.xml"/><Relationship Id="rId176" Type="http://schemas.openxmlformats.org/officeDocument/2006/relationships/slideLayout" Target="../slideLayouts/slideLayout722.xml"/><Relationship Id="rId192" Type="http://schemas.openxmlformats.org/officeDocument/2006/relationships/slideLayout" Target="../slideLayouts/slideLayout738.xml"/><Relationship Id="rId197" Type="http://schemas.openxmlformats.org/officeDocument/2006/relationships/slideLayout" Target="../slideLayouts/slideLayout743.xml"/><Relationship Id="rId206" Type="http://schemas.openxmlformats.org/officeDocument/2006/relationships/slideLayout" Target="../slideLayouts/slideLayout752.xml"/><Relationship Id="rId201" Type="http://schemas.openxmlformats.org/officeDocument/2006/relationships/slideLayout" Target="../slideLayouts/slideLayout747.xml"/><Relationship Id="rId222" Type="http://schemas.openxmlformats.org/officeDocument/2006/relationships/slideLayout" Target="../slideLayouts/slideLayout768.xml"/><Relationship Id="rId12" Type="http://schemas.openxmlformats.org/officeDocument/2006/relationships/slideLayout" Target="../slideLayouts/slideLayout558.xml"/><Relationship Id="rId17" Type="http://schemas.openxmlformats.org/officeDocument/2006/relationships/slideLayout" Target="../slideLayouts/slideLayout563.xml"/><Relationship Id="rId33" Type="http://schemas.openxmlformats.org/officeDocument/2006/relationships/slideLayout" Target="../slideLayouts/slideLayout579.xml"/><Relationship Id="rId38" Type="http://schemas.openxmlformats.org/officeDocument/2006/relationships/slideLayout" Target="../slideLayouts/slideLayout584.xml"/><Relationship Id="rId59" Type="http://schemas.openxmlformats.org/officeDocument/2006/relationships/slideLayout" Target="../slideLayouts/slideLayout605.xml"/><Relationship Id="rId103" Type="http://schemas.openxmlformats.org/officeDocument/2006/relationships/slideLayout" Target="../slideLayouts/slideLayout649.xml"/><Relationship Id="rId108" Type="http://schemas.openxmlformats.org/officeDocument/2006/relationships/slideLayout" Target="../slideLayouts/slideLayout654.xml"/><Relationship Id="rId124" Type="http://schemas.openxmlformats.org/officeDocument/2006/relationships/slideLayout" Target="../slideLayouts/slideLayout670.xml"/><Relationship Id="rId129" Type="http://schemas.openxmlformats.org/officeDocument/2006/relationships/slideLayout" Target="../slideLayouts/slideLayout675.xml"/><Relationship Id="rId54" Type="http://schemas.openxmlformats.org/officeDocument/2006/relationships/slideLayout" Target="../slideLayouts/slideLayout600.xml"/><Relationship Id="rId70" Type="http://schemas.openxmlformats.org/officeDocument/2006/relationships/slideLayout" Target="../slideLayouts/slideLayout616.xml"/><Relationship Id="rId75" Type="http://schemas.openxmlformats.org/officeDocument/2006/relationships/slideLayout" Target="../slideLayouts/slideLayout621.xml"/><Relationship Id="rId91" Type="http://schemas.openxmlformats.org/officeDocument/2006/relationships/slideLayout" Target="../slideLayouts/slideLayout637.xml"/><Relationship Id="rId96" Type="http://schemas.openxmlformats.org/officeDocument/2006/relationships/slideLayout" Target="../slideLayouts/slideLayout642.xml"/><Relationship Id="rId140" Type="http://schemas.openxmlformats.org/officeDocument/2006/relationships/slideLayout" Target="../slideLayouts/slideLayout686.xml"/><Relationship Id="rId145" Type="http://schemas.openxmlformats.org/officeDocument/2006/relationships/slideLayout" Target="../slideLayouts/slideLayout691.xml"/><Relationship Id="rId161" Type="http://schemas.openxmlformats.org/officeDocument/2006/relationships/slideLayout" Target="../slideLayouts/slideLayout707.xml"/><Relationship Id="rId166" Type="http://schemas.openxmlformats.org/officeDocument/2006/relationships/slideLayout" Target="../slideLayouts/slideLayout712.xml"/><Relationship Id="rId182" Type="http://schemas.openxmlformats.org/officeDocument/2006/relationships/slideLayout" Target="../slideLayouts/slideLayout728.xml"/><Relationship Id="rId187" Type="http://schemas.openxmlformats.org/officeDocument/2006/relationships/slideLayout" Target="../slideLayouts/slideLayout733.xml"/><Relationship Id="rId217" Type="http://schemas.openxmlformats.org/officeDocument/2006/relationships/slideLayout" Target="../slideLayouts/slideLayout763.xml"/><Relationship Id="rId1" Type="http://schemas.openxmlformats.org/officeDocument/2006/relationships/slideLayout" Target="../slideLayouts/slideLayout547.xml"/><Relationship Id="rId6" Type="http://schemas.openxmlformats.org/officeDocument/2006/relationships/slideLayout" Target="../slideLayouts/slideLayout552.xml"/><Relationship Id="rId212" Type="http://schemas.openxmlformats.org/officeDocument/2006/relationships/slideLayout" Target="../slideLayouts/slideLayout758.xml"/><Relationship Id="rId23" Type="http://schemas.openxmlformats.org/officeDocument/2006/relationships/slideLayout" Target="../slideLayouts/slideLayout569.xml"/><Relationship Id="rId28" Type="http://schemas.openxmlformats.org/officeDocument/2006/relationships/slideLayout" Target="../slideLayouts/slideLayout574.xml"/><Relationship Id="rId49" Type="http://schemas.openxmlformats.org/officeDocument/2006/relationships/slideLayout" Target="../slideLayouts/slideLayout595.xml"/><Relationship Id="rId114" Type="http://schemas.openxmlformats.org/officeDocument/2006/relationships/slideLayout" Target="../slideLayouts/slideLayout660.xml"/><Relationship Id="rId119" Type="http://schemas.openxmlformats.org/officeDocument/2006/relationships/slideLayout" Target="../slideLayouts/slideLayout665.xml"/><Relationship Id="rId44" Type="http://schemas.openxmlformats.org/officeDocument/2006/relationships/slideLayout" Target="../slideLayouts/slideLayout590.xml"/><Relationship Id="rId60" Type="http://schemas.openxmlformats.org/officeDocument/2006/relationships/slideLayout" Target="../slideLayouts/slideLayout606.xml"/><Relationship Id="rId65" Type="http://schemas.openxmlformats.org/officeDocument/2006/relationships/slideLayout" Target="../slideLayouts/slideLayout611.xml"/><Relationship Id="rId81" Type="http://schemas.openxmlformats.org/officeDocument/2006/relationships/slideLayout" Target="../slideLayouts/slideLayout627.xml"/><Relationship Id="rId86" Type="http://schemas.openxmlformats.org/officeDocument/2006/relationships/slideLayout" Target="../slideLayouts/slideLayout632.xml"/><Relationship Id="rId130" Type="http://schemas.openxmlformats.org/officeDocument/2006/relationships/slideLayout" Target="../slideLayouts/slideLayout676.xml"/><Relationship Id="rId135" Type="http://schemas.openxmlformats.org/officeDocument/2006/relationships/slideLayout" Target="../slideLayouts/slideLayout681.xml"/><Relationship Id="rId151" Type="http://schemas.openxmlformats.org/officeDocument/2006/relationships/slideLayout" Target="../slideLayouts/slideLayout697.xml"/><Relationship Id="rId156" Type="http://schemas.openxmlformats.org/officeDocument/2006/relationships/slideLayout" Target="../slideLayouts/slideLayout702.xml"/><Relationship Id="rId177" Type="http://schemas.openxmlformats.org/officeDocument/2006/relationships/slideLayout" Target="../slideLayouts/slideLayout723.xml"/><Relationship Id="rId198" Type="http://schemas.openxmlformats.org/officeDocument/2006/relationships/slideLayout" Target="../slideLayouts/slideLayout744.xml"/><Relationship Id="rId172" Type="http://schemas.openxmlformats.org/officeDocument/2006/relationships/slideLayout" Target="../slideLayouts/slideLayout718.xml"/><Relationship Id="rId193" Type="http://schemas.openxmlformats.org/officeDocument/2006/relationships/slideLayout" Target="../slideLayouts/slideLayout739.xml"/><Relationship Id="rId202" Type="http://schemas.openxmlformats.org/officeDocument/2006/relationships/slideLayout" Target="../slideLayouts/slideLayout748.xml"/><Relationship Id="rId207" Type="http://schemas.openxmlformats.org/officeDocument/2006/relationships/slideLayout" Target="../slideLayouts/slideLayout753.xml"/><Relationship Id="rId223" Type="http://schemas.openxmlformats.org/officeDocument/2006/relationships/slideLayout" Target="../slideLayouts/slideLayout769.xml"/><Relationship Id="rId13" Type="http://schemas.openxmlformats.org/officeDocument/2006/relationships/slideLayout" Target="../slideLayouts/slideLayout559.xml"/><Relationship Id="rId18" Type="http://schemas.openxmlformats.org/officeDocument/2006/relationships/slideLayout" Target="../slideLayouts/slideLayout564.xml"/><Relationship Id="rId39" Type="http://schemas.openxmlformats.org/officeDocument/2006/relationships/slideLayout" Target="../slideLayouts/slideLayout585.xml"/><Relationship Id="rId109" Type="http://schemas.openxmlformats.org/officeDocument/2006/relationships/slideLayout" Target="../slideLayouts/slideLayout655.xml"/><Relationship Id="rId34" Type="http://schemas.openxmlformats.org/officeDocument/2006/relationships/slideLayout" Target="../slideLayouts/slideLayout580.xml"/><Relationship Id="rId50" Type="http://schemas.openxmlformats.org/officeDocument/2006/relationships/slideLayout" Target="../slideLayouts/slideLayout596.xml"/><Relationship Id="rId55" Type="http://schemas.openxmlformats.org/officeDocument/2006/relationships/slideLayout" Target="../slideLayouts/slideLayout601.xml"/><Relationship Id="rId76" Type="http://schemas.openxmlformats.org/officeDocument/2006/relationships/slideLayout" Target="../slideLayouts/slideLayout622.xml"/><Relationship Id="rId97" Type="http://schemas.openxmlformats.org/officeDocument/2006/relationships/slideLayout" Target="../slideLayouts/slideLayout643.xml"/><Relationship Id="rId104" Type="http://schemas.openxmlformats.org/officeDocument/2006/relationships/slideLayout" Target="../slideLayouts/slideLayout650.xml"/><Relationship Id="rId120" Type="http://schemas.openxmlformats.org/officeDocument/2006/relationships/slideLayout" Target="../slideLayouts/slideLayout666.xml"/><Relationship Id="rId125" Type="http://schemas.openxmlformats.org/officeDocument/2006/relationships/slideLayout" Target="../slideLayouts/slideLayout671.xml"/><Relationship Id="rId141" Type="http://schemas.openxmlformats.org/officeDocument/2006/relationships/slideLayout" Target="../slideLayouts/slideLayout687.xml"/><Relationship Id="rId146" Type="http://schemas.openxmlformats.org/officeDocument/2006/relationships/slideLayout" Target="../slideLayouts/slideLayout692.xml"/><Relationship Id="rId167" Type="http://schemas.openxmlformats.org/officeDocument/2006/relationships/slideLayout" Target="../slideLayouts/slideLayout713.xml"/><Relationship Id="rId188" Type="http://schemas.openxmlformats.org/officeDocument/2006/relationships/slideLayout" Target="../slideLayouts/slideLayout734.xml"/><Relationship Id="rId7" Type="http://schemas.openxmlformats.org/officeDocument/2006/relationships/slideLayout" Target="../slideLayouts/slideLayout553.xml"/><Relationship Id="rId71" Type="http://schemas.openxmlformats.org/officeDocument/2006/relationships/slideLayout" Target="../slideLayouts/slideLayout617.xml"/><Relationship Id="rId92" Type="http://schemas.openxmlformats.org/officeDocument/2006/relationships/slideLayout" Target="../slideLayouts/slideLayout638.xml"/><Relationship Id="rId162" Type="http://schemas.openxmlformats.org/officeDocument/2006/relationships/slideLayout" Target="../slideLayouts/slideLayout708.xml"/><Relationship Id="rId183" Type="http://schemas.openxmlformats.org/officeDocument/2006/relationships/slideLayout" Target="../slideLayouts/slideLayout729.xml"/><Relationship Id="rId213" Type="http://schemas.openxmlformats.org/officeDocument/2006/relationships/slideLayout" Target="../slideLayouts/slideLayout759.xml"/><Relationship Id="rId218" Type="http://schemas.openxmlformats.org/officeDocument/2006/relationships/slideLayout" Target="../slideLayouts/slideLayout764.xml"/><Relationship Id="rId2" Type="http://schemas.openxmlformats.org/officeDocument/2006/relationships/slideLayout" Target="../slideLayouts/slideLayout548.xml"/><Relationship Id="rId29" Type="http://schemas.openxmlformats.org/officeDocument/2006/relationships/slideLayout" Target="../slideLayouts/slideLayout575.xml"/><Relationship Id="rId24" Type="http://schemas.openxmlformats.org/officeDocument/2006/relationships/slideLayout" Target="../slideLayouts/slideLayout570.xml"/><Relationship Id="rId40" Type="http://schemas.openxmlformats.org/officeDocument/2006/relationships/slideLayout" Target="../slideLayouts/slideLayout586.xml"/><Relationship Id="rId45" Type="http://schemas.openxmlformats.org/officeDocument/2006/relationships/slideLayout" Target="../slideLayouts/slideLayout591.xml"/><Relationship Id="rId66" Type="http://schemas.openxmlformats.org/officeDocument/2006/relationships/slideLayout" Target="../slideLayouts/slideLayout612.xml"/><Relationship Id="rId87" Type="http://schemas.openxmlformats.org/officeDocument/2006/relationships/slideLayout" Target="../slideLayouts/slideLayout633.xml"/><Relationship Id="rId110" Type="http://schemas.openxmlformats.org/officeDocument/2006/relationships/slideLayout" Target="../slideLayouts/slideLayout656.xml"/><Relationship Id="rId115" Type="http://schemas.openxmlformats.org/officeDocument/2006/relationships/slideLayout" Target="../slideLayouts/slideLayout661.xml"/><Relationship Id="rId131" Type="http://schemas.openxmlformats.org/officeDocument/2006/relationships/slideLayout" Target="../slideLayouts/slideLayout677.xml"/><Relationship Id="rId136" Type="http://schemas.openxmlformats.org/officeDocument/2006/relationships/slideLayout" Target="../slideLayouts/slideLayout682.xml"/><Relationship Id="rId157" Type="http://schemas.openxmlformats.org/officeDocument/2006/relationships/slideLayout" Target="../slideLayouts/slideLayout703.xml"/><Relationship Id="rId178" Type="http://schemas.openxmlformats.org/officeDocument/2006/relationships/slideLayout" Target="../slideLayouts/slideLayout724.xml"/><Relationship Id="rId61" Type="http://schemas.openxmlformats.org/officeDocument/2006/relationships/slideLayout" Target="../slideLayouts/slideLayout607.xml"/><Relationship Id="rId82" Type="http://schemas.openxmlformats.org/officeDocument/2006/relationships/slideLayout" Target="../slideLayouts/slideLayout628.xml"/><Relationship Id="rId152" Type="http://schemas.openxmlformats.org/officeDocument/2006/relationships/slideLayout" Target="../slideLayouts/slideLayout698.xml"/><Relationship Id="rId173" Type="http://schemas.openxmlformats.org/officeDocument/2006/relationships/slideLayout" Target="../slideLayouts/slideLayout719.xml"/><Relationship Id="rId194" Type="http://schemas.openxmlformats.org/officeDocument/2006/relationships/slideLayout" Target="../slideLayouts/slideLayout740.xml"/><Relationship Id="rId199" Type="http://schemas.openxmlformats.org/officeDocument/2006/relationships/slideLayout" Target="../slideLayouts/slideLayout745.xml"/><Relationship Id="rId203" Type="http://schemas.openxmlformats.org/officeDocument/2006/relationships/slideLayout" Target="../slideLayouts/slideLayout749.xml"/><Relationship Id="rId208" Type="http://schemas.openxmlformats.org/officeDocument/2006/relationships/slideLayout" Target="../slideLayouts/slideLayout754.xml"/><Relationship Id="rId19" Type="http://schemas.openxmlformats.org/officeDocument/2006/relationships/slideLayout" Target="../slideLayouts/slideLayout565.xml"/><Relationship Id="rId224" Type="http://schemas.openxmlformats.org/officeDocument/2006/relationships/slideLayout" Target="../slideLayouts/slideLayout770.xml"/><Relationship Id="rId14" Type="http://schemas.openxmlformats.org/officeDocument/2006/relationships/slideLayout" Target="../slideLayouts/slideLayout560.xml"/><Relationship Id="rId30" Type="http://schemas.openxmlformats.org/officeDocument/2006/relationships/slideLayout" Target="../slideLayouts/slideLayout576.xml"/><Relationship Id="rId35" Type="http://schemas.openxmlformats.org/officeDocument/2006/relationships/slideLayout" Target="../slideLayouts/slideLayout581.xml"/><Relationship Id="rId56" Type="http://schemas.openxmlformats.org/officeDocument/2006/relationships/slideLayout" Target="../slideLayouts/slideLayout602.xml"/><Relationship Id="rId77" Type="http://schemas.openxmlformats.org/officeDocument/2006/relationships/slideLayout" Target="../slideLayouts/slideLayout623.xml"/><Relationship Id="rId100" Type="http://schemas.openxmlformats.org/officeDocument/2006/relationships/slideLayout" Target="../slideLayouts/slideLayout646.xml"/><Relationship Id="rId105" Type="http://schemas.openxmlformats.org/officeDocument/2006/relationships/slideLayout" Target="../slideLayouts/slideLayout651.xml"/><Relationship Id="rId126" Type="http://schemas.openxmlformats.org/officeDocument/2006/relationships/slideLayout" Target="../slideLayouts/slideLayout672.xml"/><Relationship Id="rId147" Type="http://schemas.openxmlformats.org/officeDocument/2006/relationships/slideLayout" Target="../slideLayouts/slideLayout693.xml"/><Relationship Id="rId168" Type="http://schemas.openxmlformats.org/officeDocument/2006/relationships/slideLayout" Target="../slideLayouts/slideLayout714.xml"/><Relationship Id="rId8" Type="http://schemas.openxmlformats.org/officeDocument/2006/relationships/slideLayout" Target="../slideLayouts/slideLayout554.xml"/><Relationship Id="rId51" Type="http://schemas.openxmlformats.org/officeDocument/2006/relationships/slideLayout" Target="../slideLayouts/slideLayout597.xml"/><Relationship Id="rId72" Type="http://schemas.openxmlformats.org/officeDocument/2006/relationships/slideLayout" Target="../slideLayouts/slideLayout618.xml"/><Relationship Id="rId93" Type="http://schemas.openxmlformats.org/officeDocument/2006/relationships/slideLayout" Target="../slideLayouts/slideLayout639.xml"/><Relationship Id="rId98" Type="http://schemas.openxmlformats.org/officeDocument/2006/relationships/slideLayout" Target="../slideLayouts/slideLayout644.xml"/><Relationship Id="rId121" Type="http://schemas.openxmlformats.org/officeDocument/2006/relationships/slideLayout" Target="../slideLayouts/slideLayout667.xml"/><Relationship Id="rId142" Type="http://schemas.openxmlformats.org/officeDocument/2006/relationships/slideLayout" Target="../slideLayouts/slideLayout688.xml"/><Relationship Id="rId163" Type="http://schemas.openxmlformats.org/officeDocument/2006/relationships/slideLayout" Target="../slideLayouts/slideLayout709.xml"/><Relationship Id="rId184" Type="http://schemas.openxmlformats.org/officeDocument/2006/relationships/slideLayout" Target="../slideLayouts/slideLayout730.xml"/><Relationship Id="rId189" Type="http://schemas.openxmlformats.org/officeDocument/2006/relationships/slideLayout" Target="../slideLayouts/slideLayout735.xml"/><Relationship Id="rId219" Type="http://schemas.openxmlformats.org/officeDocument/2006/relationships/slideLayout" Target="../slideLayouts/slideLayout765.xml"/><Relationship Id="rId3" Type="http://schemas.openxmlformats.org/officeDocument/2006/relationships/slideLayout" Target="../slideLayouts/slideLayout549.xml"/><Relationship Id="rId214" Type="http://schemas.openxmlformats.org/officeDocument/2006/relationships/slideLayout" Target="../slideLayouts/slideLayout760.xml"/><Relationship Id="rId25" Type="http://schemas.openxmlformats.org/officeDocument/2006/relationships/slideLayout" Target="../slideLayouts/slideLayout571.xml"/><Relationship Id="rId46" Type="http://schemas.openxmlformats.org/officeDocument/2006/relationships/slideLayout" Target="../slideLayouts/slideLayout592.xml"/><Relationship Id="rId67" Type="http://schemas.openxmlformats.org/officeDocument/2006/relationships/slideLayout" Target="../slideLayouts/slideLayout613.xml"/><Relationship Id="rId116" Type="http://schemas.openxmlformats.org/officeDocument/2006/relationships/slideLayout" Target="../slideLayouts/slideLayout662.xml"/><Relationship Id="rId137" Type="http://schemas.openxmlformats.org/officeDocument/2006/relationships/slideLayout" Target="../slideLayouts/slideLayout683.xml"/><Relationship Id="rId158" Type="http://schemas.openxmlformats.org/officeDocument/2006/relationships/slideLayout" Target="../slideLayouts/slideLayout704.xml"/><Relationship Id="rId20" Type="http://schemas.openxmlformats.org/officeDocument/2006/relationships/slideLayout" Target="../slideLayouts/slideLayout566.xml"/><Relationship Id="rId41" Type="http://schemas.openxmlformats.org/officeDocument/2006/relationships/slideLayout" Target="../slideLayouts/slideLayout587.xml"/><Relationship Id="rId62" Type="http://schemas.openxmlformats.org/officeDocument/2006/relationships/slideLayout" Target="../slideLayouts/slideLayout608.xml"/><Relationship Id="rId83" Type="http://schemas.openxmlformats.org/officeDocument/2006/relationships/slideLayout" Target="../slideLayouts/slideLayout629.xml"/><Relationship Id="rId88" Type="http://schemas.openxmlformats.org/officeDocument/2006/relationships/slideLayout" Target="../slideLayouts/slideLayout634.xml"/><Relationship Id="rId111" Type="http://schemas.openxmlformats.org/officeDocument/2006/relationships/slideLayout" Target="../slideLayouts/slideLayout657.xml"/><Relationship Id="rId132" Type="http://schemas.openxmlformats.org/officeDocument/2006/relationships/slideLayout" Target="../slideLayouts/slideLayout678.xml"/><Relationship Id="rId153" Type="http://schemas.openxmlformats.org/officeDocument/2006/relationships/slideLayout" Target="../slideLayouts/slideLayout699.xml"/><Relationship Id="rId174" Type="http://schemas.openxmlformats.org/officeDocument/2006/relationships/slideLayout" Target="../slideLayouts/slideLayout720.xml"/><Relationship Id="rId179" Type="http://schemas.openxmlformats.org/officeDocument/2006/relationships/slideLayout" Target="../slideLayouts/slideLayout725.xml"/><Relationship Id="rId195" Type="http://schemas.openxmlformats.org/officeDocument/2006/relationships/slideLayout" Target="../slideLayouts/slideLayout741.xml"/><Relationship Id="rId209" Type="http://schemas.openxmlformats.org/officeDocument/2006/relationships/slideLayout" Target="../slideLayouts/slideLayout755.xml"/><Relationship Id="rId190" Type="http://schemas.openxmlformats.org/officeDocument/2006/relationships/slideLayout" Target="../slideLayouts/slideLayout736.xml"/><Relationship Id="rId204" Type="http://schemas.openxmlformats.org/officeDocument/2006/relationships/slideLayout" Target="../slideLayouts/slideLayout750.xml"/><Relationship Id="rId220" Type="http://schemas.openxmlformats.org/officeDocument/2006/relationships/slideLayout" Target="../slideLayouts/slideLayout766.xml"/><Relationship Id="rId225" Type="http://schemas.openxmlformats.org/officeDocument/2006/relationships/slideLayout" Target="../slideLayouts/slideLayout771.xml"/><Relationship Id="rId15" Type="http://schemas.openxmlformats.org/officeDocument/2006/relationships/slideLayout" Target="../slideLayouts/slideLayout561.xml"/><Relationship Id="rId36" Type="http://schemas.openxmlformats.org/officeDocument/2006/relationships/slideLayout" Target="../slideLayouts/slideLayout582.xml"/><Relationship Id="rId57" Type="http://schemas.openxmlformats.org/officeDocument/2006/relationships/slideLayout" Target="../slideLayouts/slideLayout603.xml"/><Relationship Id="rId106" Type="http://schemas.openxmlformats.org/officeDocument/2006/relationships/slideLayout" Target="../slideLayouts/slideLayout652.xml"/><Relationship Id="rId127" Type="http://schemas.openxmlformats.org/officeDocument/2006/relationships/slideLayout" Target="../slideLayouts/slideLayout673.xml"/><Relationship Id="rId10" Type="http://schemas.openxmlformats.org/officeDocument/2006/relationships/slideLayout" Target="../slideLayouts/slideLayout556.xml"/><Relationship Id="rId31" Type="http://schemas.openxmlformats.org/officeDocument/2006/relationships/slideLayout" Target="../slideLayouts/slideLayout577.xml"/><Relationship Id="rId52" Type="http://schemas.openxmlformats.org/officeDocument/2006/relationships/slideLayout" Target="../slideLayouts/slideLayout598.xml"/><Relationship Id="rId73" Type="http://schemas.openxmlformats.org/officeDocument/2006/relationships/slideLayout" Target="../slideLayouts/slideLayout619.xml"/><Relationship Id="rId78" Type="http://schemas.openxmlformats.org/officeDocument/2006/relationships/slideLayout" Target="../slideLayouts/slideLayout624.xml"/><Relationship Id="rId94" Type="http://schemas.openxmlformats.org/officeDocument/2006/relationships/slideLayout" Target="../slideLayouts/slideLayout640.xml"/><Relationship Id="rId99" Type="http://schemas.openxmlformats.org/officeDocument/2006/relationships/slideLayout" Target="../slideLayouts/slideLayout645.xml"/><Relationship Id="rId101" Type="http://schemas.openxmlformats.org/officeDocument/2006/relationships/slideLayout" Target="../slideLayouts/slideLayout647.xml"/><Relationship Id="rId122" Type="http://schemas.openxmlformats.org/officeDocument/2006/relationships/slideLayout" Target="../slideLayouts/slideLayout668.xml"/><Relationship Id="rId143" Type="http://schemas.openxmlformats.org/officeDocument/2006/relationships/slideLayout" Target="../slideLayouts/slideLayout689.xml"/><Relationship Id="rId148" Type="http://schemas.openxmlformats.org/officeDocument/2006/relationships/slideLayout" Target="../slideLayouts/slideLayout694.xml"/><Relationship Id="rId164" Type="http://schemas.openxmlformats.org/officeDocument/2006/relationships/slideLayout" Target="../slideLayouts/slideLayout710.xml"/><Relationship Id="rId169" Type="http://schemas.openxmlformats.org/officeDocument/2006/relationships/slideLayout" Target="../slideLayouts/slideLayout715.xml"/><Relationship Id="rId185" Type="http://schemas.openxmlformats.org/officeDocument/2006/relationships/slideLayout" Target="../slideLayouts/slideLayout731.xml"/><Relationship Id="rId4" Type="http://schemas.openxmlformats.org/officeDocument/2006/relationships/slideLayout" Target="../slideLayouts/slideLayout550.xml"/><Relationship Id="rId9" Type="http://schemas.openxmlformats.org/officeDocument/2006/relationships/slideLayout" Target="../slideLayouts/slideLayout555.xml"/><Relationship Id="rId180" Type="http://schemas.openxmlformats.org/officeDocument/2006/relationships/slideLayout" Target="../slideLayouts/slideLayout726.xml"/><Relationship Id="rId210" Type="http://schemas.openxmlformats.org/officeDocument/2006/relationships/slideLayout" Target="../slideLayouts/slideLayout756.xml"/><Relationship Id="rId215" Type="http://schemas.openxmlformats.org/officeDocument/2006/relationships/slideLayout" Target="../slideLayouts/slideLayout761.xml"/><Relationship Id="rId26" Type="http://schemas.openxmlformats.org/officeDocument/2006/relationships/slideLayout" Target="../slideLayouts/slideLayout572.xml"/><Relationship Id="rId47" Type="http://schemas.openxmlformats.org/officeDocument/2006/relationships/slideLayout" Target="../slideLayouts/slideLayout593.xml"/><Relationship Id="rId68" Type="http://schemas.openxmlformats.org/officeDocument/2006/relationships/slideLayout" Target="../slideLayouts/slideLayout614.xml"/><Relationship Id="rId89" Type="http://schemas.openxmlformats.org/officeDocument/2006/relationships/slideLayout" Target="../slideLayouts/slideLayout635.xml"/><Relationship Id="rId112" Type="http://schemas.openxmlformats.org/officeDocument/2006/relationships/slideLayout" Target="../slideLayouts/slideLayout658.xml"/><Relationship Id="rId133" Type="http://schemas.openxmlformats.org/officeDocument/2006/relationships/slideLayout" Target="../slideLayouts/slideLayout679.xml"/><Relationship Id="rId154" Type="http://schemas.openxmlformats.org/officeDocument/2006/relationships/slideLayout" Target="../slideLayouts/slideLayout700.xml"/><Relationship Id="rId175" Type="http://schemas.openxmlformats.org/officeDocument/2006/relationships/slideLayout" Target="../slideLayouts/slideLayout721.xml"/><Relationship Id="rId196" Type="http://schemas.openxmlformats.org/officeDocument/2006/relationships/slideLayout" Target="../slideLayouts/slideLayout742.xml"/><Relationship Id="rId200" Type="http://schemas.openxmlformats.org/officeDocument/2006/relationships/slideLayout" Target="../slideLayouts/slideLayout746.xml"/><Relationship Id="rId16" Type="http://schemas.openxmlformats.org/officeDocument/2006/relationships/slideLayout" Target="../slideLayouts/slideLayout562.xml"/><Relationship Id="rId221" Type="http://schemas.openxmlformats.org/officeDocument/2006/relationships/slideLayout" Target="../slideLayouts/slideLayout767.xml"/><Relationship Id="rId37" Type="http://schemas.openxmlformats.org/officeDocument/2006/relationships/slideLayout" Target="../slideLayouts/slideLayout583.xml"/><Relationship Id="rId58" Type="http://schemas.openxmlformats.org/officeDocument/2006/relationships/slideLayout" Target="../slideLayouts/slideLayout604.xml"/><Relationship Id="rId79" Type="http://schemas.openxmlformats.org/officeDocument/2006/relationships/slideLayout" Target="../slideLayouts/slideLayout625.xml"/><Relationship Id="rId102" Type="http://schemas.openxmlformats.org/officeDocument/2006/relationships/slideLayout" Target="../slideLayouts/slideLayout648.xml"/><Relationship Id="rId123" Type="http://schemas.openxmlformats.org/officeDocument/2006/relationships/slideLayout" Target="../slideLayouts/slideLayout669.xml"/><Relationship Id="rId144" Type="http://schemas.openxmlformats.org/officeDocument/2006/relationships/slideLayout" Target="../slideLayouts/slideLayout690.xml"/><Relationship Id="rId90" Type="http://schemas.openxmlformats.org/officeDocument/2006/relationships/slideLayout" Target="../slideLayouts/slideLayout636.xml"/><Relationship Id="rId165" Type="http://schemas.openxmlformats.org/officeDocument/2006/relationships/slideLayout" Target="../slideLayouts/slideLayout711.xml"/><Relationship Id="rId186" Type="http://schemas.openxmlformats.org/officeDocument/2006/relationships/slideLayout" Target="../slideLayouts/slideLayout7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83952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11" r:id="rId1"/>
    <p:sldLayoutId id="2147486712" r:id="rId2"/>
    <p:sldLayoutId id="2147486714" r:id="rId3"/>
    <p:sldLayoutId id="2147486554" r:id="rId4"/>
    <p:sldLayoutId id="2147486556" r:id="rId5"/>
    <p:sldLayoutId id="2147486710" r:id="rId6"/>
    <p:sldLayoutId id="2147486551" r:id="rId7"/>
    <p:sldLayoutId id="2147486552" r:id="rId8"/>
    <p:sldLayoutId id="2147486553" r:id="rId9"/>
    <p:sldLayoutId id="2147486788" r:id="rId10"/>
    <p:sldLayoutId id="2147484596" r:id="rId11"/>
    <p:sldLayoutId id="2147484835" r:id="rId12"/>
    <p:sldLayoutId id="2147484598" r:id="rId13"/>
    <p:sldLayoutId id="2147486789" r:id="rId14"/>
    <p:sldLayoutId id="2147484836" r:id="rId15"/>
    <p:sldLayoutId id="2147484837" r:id="rId16"/>
    <p:sldLayoutId id="2147484601" r:id="rId17"/>
    <p:sldLayoutId id="2147484602" r:id="rId18"/>
    <p:sldLayoutId id="2147484603" r:id="rId19"/>
    <p:sldLayoutId id="2147484604" r:id="rId20"/>
    <p:sldLayoutId id="2147484839" r:id="rId21"/>
    <p:sldLayoutId id="2147485639" r:id="rId22"/>
    <p:sldLayoutId id="2147485641" r:id="rId23"/>
    <p:sldLayoutId id="2147485642" r:id="rId24"/>
    <p:sldLayoutId id="2147485644" r:id="rId25"/>
    <p:sldLayoutId id="2147485645" r:id="rId26"/>
    <p:sldLayoutId id="2147485646" r:id="rId27"/>
    <p:sldLayoutId id="2147485647" r:id="rId28"/>
    <p:sldLayoutId id="2147485648" r:id="rId29"/>
    <p:sldLayoutId id="2147485649" r:id="rId30"/>
    <p:sldLayoutId id="2147485640" r:id="rId31"/>
    <p:sldLayoutId id="2147485954" r:id="rId32"/>
    <p:sldLayoutId id="2147483833" r:id="rId33"/>
    <p:sldLayoutId id="2147483834" r:id="rId34"/>
    <p:sldLayoutId id="2147483835" r:id="rId35"/>
    <p:sldLayoutId id="2147485628" r:id="rId36"/>
    <p:sldLayoutId id="2147485455" r:id="rId37"/>
    <p:sldLayoutId id="2147486773" r:id="rId38"/>
    <p:sldLayoutId id="2147483836" r:id="rId39"/>
    <p:sldLayoutId id="2147483838" r:id="rId40"/>
    <p:sldLayoutId id="2147483839" r:id="rId41"/>
    <p:sldLayoutId id="2147483840" r:id="rId42"/>
    <p:sldLayoutId id="2147483841" r:id="rId43"/>
    <p:sldLayoutId id="2147483842" r:id="rId44"/>
    <p:sldLayoutId id="2147485072" r:id="rId45"/>
    <p:sldLayoutId id="2147484845" r:id="rId46"/>
    <p:sldLayoutId id="2147483843" r:id="rId47"/>
    <p:sldLayoutId id="2147486790" r:id="rId48"/>
    <p:sldLayoutId id="2147484846" r:id="rId49"/>
    <p:sldLayoutId id="2147486791" r:id="rId50"/>
    <p:sldLayoutId id="2147485712" r:id="rId51"/>
    <p:sldLayoutId id="2147486824" r:id="rId52"/>
    <p:sldLayoutId id="2147485470" r:id="rId53"/>
    <p:sldLayoutId id="2147484269" r:id="rId54"/>
    <p:sldLayoutId id="2147484270" r:id="rId55"/>
    <p:sldLayoutId id="2147484271" r:id="rId56"/>
    <p:sldLayoutId id="2147486702" r:id="rId57"/>
    <p:sldLayoutId id="2147486703" r:id="rId58"/>
    <p:sldLayoutId id="2147484639" r:id="rId59"/>
    <p:sldLayoutId id="2147484640" r:id="rId60"/>
    <p:sldLayoutId id="2147484641" r:id="rId61"/>
    <p:sldLayoutId id="2147484642" r:id="rId62"/>
    <p:sldLayoutId id="2147484643" r:id="rId63"/>
    <p:sldLayoutId id="2147484644" r:id="rId64"/>
    <p:sldLayoutId id="2147484424" r:id="rId65"/>
    <p:sldLayoutId id="2147484626" r:id="rId66"/>
    <p:sldLayoutId id="2147484645" r:id="rId67"/>
    <p:sldLayoutId id="2147484646" r:id="rId68"/>
    <p:sldLayoutId id="2147484647" r:id="rId69"/>
    <p:sldLayoutId id="2147484353" r:id="rId70"/>
    <p:sldLayoutId id="2147485643" r:id="rId71"/>
    <p:sldLayoutId id="2147485637" r:id="rId72"/>
    <p:sldLayoutId id="2147483885" r:id="rId73"/>
    <p:sldLayoutId id="2147485622" r:id="rId74"/>
    <p:sldLayoutId id="2147485624" r:id="rId75"/>
    <p:sldLayoutId id="2147485625" r:id="rId76"/>
    <p:sldLayoutId id="2147485626" r:id="rId77"/>
    <p:sldLayoutId id="2147485650" r:id="rId78"/>
    <p:sldLayoutId id="2147485621" r:id="rId79"/>
    <p:sldLayoutId id="2147485842" r:id="rId80"/>
    <p:sldLayoutId id="2147485590" r:id="rId81"/>
    <p:sldLayoutId id="2147486803" r:id="rId82"/>
    <p:sldLayoutId id="2147484200" r:id="rId83"/>
    <p:sldLayoutId id="2147485738" r:id="rId84"/>
    <p:sldLayoutId id="2147485074" r:id="rId85"/>
    <p:sldLayoutId id="2147485075" r:id="rId86"/>
    <p:sldLayoutId id="2147485076" r:id="rId87"/>
    <p:sldLayoutId id="2147485077" r:id="rId88"/>
    <p:sldLayoutId id="2147485078" r:id="rId89"/>
    <p:sldLayoutId id="2147485079" r:id="rId90"/>
    <p:sldLayoutId id="2147485080" r:id="rId91"/>
    <p:sldLayoutId id="2147485081" r:id="rId92"/>
    <p:sldLayoutId id="2147485082" r:id="rId93"/>
    <p:sldLayoutId id="2147485083" r:id="rId94"/>
    <p:sldLayoutId id="2147484384" r:id="rId95"/>
    <p:sldLayoutId id="2147485405" r:id="rId96"/>
    <p:sldLayoutId id="2147484559" r:id="rId97"/>
    <p:sldLayoutId id="2147484385" r:id="rId98"/>
    <p:sldLayoutId id="2147485406" r:id="rId99"/>
    <p:sldLayoutId id="2147484387" r:id="rId100"/>
    <p:sldLayoutId id="2147484389" r:id="rId101"/>
    <p:sldLayoutId id="2147484390" r:id="rId102"/>
    <p:sldLayoutId id="2147484388" r:id="rId103"/>
    <p:sldLayoutId id="2147484391" r:id="rId104"/>
    <p:sldLayoutId id="2147484392" r:id="rId105"/>
    <p:sldLayoutId id="2147484202" r:id="rId106"/>
    <p:sldLayoutId id="2147484203" r:id="rId107"/>
    <p:sldLayoutId id="2147484204" r:id="rId108"/>
    <p:sldLayoutId id="2147484205" r:id="rId109"/>
    <p:sldLayoutId id="2147484206" r:id="rId110"/>
    <p:sldLayoutId id="2147485588" r:id="rId111"/>
    <p:sldLayoutId id="2147484208" r:id="rId112"/>
    <p:sldLayoutId id="2147485719" r:id="rId113"/>
    <p:sldLayoutId id="2147485612" r:id="rId114"/>
    <p:sldLayoutId id="2147485614" r:id="rId115"/>
    <p:sldLayoutId id="2147485611" r:id="rId116"/>
    <p:sldLayoutId id="2147485606" r:id="rId117"/>
    <p:sldLayoutId id="2147485607" r:id="rId118"/>
    <p:sldLayoutId id="2147485608" r:id="rId119"/>
    <p:sldLayoutId id="2147485764" r:id="rId120"/>
    <p:sldLayoutId id="2147485444" r:id="rId121"/>
    <p:sldLayoutId id="2147484355" r:id="rId122"/>
    <p:sldLayoutId id="2147485623" r:id="rId123"/>
    <p:sldLayoutId id="2147484356" r:id="rId124"/>
    <p:sldLayoutId id="2147484357" r:id="rId125"/>
    <p:sldLayoutId id="2147484358" r:id="rId126"/>
    <p:sldLayoutId id="2147484359" r:id="rId127"/>
    <p:sldLayoutId id="2147484360" r:id="rId128"/>
    <p:sldLayoutId id="2147484393" r:id="rId129"/>
    <p:sldLayoutId id="2147484394" r:id="rId130"/>
    <p:sldLayoutId id="2147484361" r:id="rId131"/>
    <p:sldLayoutId id="2147485593" r:id="rId132"/>
    <p:sldLayoutId id="2147485768" r:id="rId133"/>
    <p:sldLayoutId id="2147485758" r:id="rId134"/>
    <p:sldLayoutId id="2147485759" r:id="rId135"/>
    <p:sldLayoutId id="2147485760" r:id="rId136"/>
    <p:sldLayoutId id="2147485769" r:id="rId137"/>
    <p:sldLayoutId id="2147486695" r:id="rId138"/>
    <p:sldLayoutId id="2147485609" r:id="rId139"/>
    <p:sldLayoutId id="2147485610" r:id="rId140"/>
    <p:sldLayoutId id="2147485767" r:id="rId141"/>
    <p:sldLayoutId id="2147486697" r:id="rId142"/>
    <p:sldLayoutId id="2147486698" r:id="rId143"/>
    <p:sldLayoutId id="2147486700" r:id="rId144"/>
    <p:sldLayoutId id="2147486793" r:id="rId145"/>
    <p:sldLayoutId id="2147486701" r:id="rId146"/>
    <p:sldLayoutId id="2147485789" r:id="rId147"/>
    <p:sldLayoutId id="2147485790" r:id="rId148"/>
    <p:sldLayoutId id="2147485791" r:id="rId149"/>
    <p:sldLayoutId id="2147485683" r:id="rId150"/>
    <p:sldLayoutId id="2147485792" r:id="rId151"/>
    <p:sldLayoutId id="2147485793" r:id="rId152"/>
    <p:sldLayoutId id="2147485794" r:id="rId153"/>
    <p:sldLayoutId id="2147485795" r:id="rId154"/>
    <p:sldLayoutId id="2147485615" r:id="rId155"/>
    <p:sldLayoutId id="2147485797" r:id="rId156"/>
    <p:sldLayoutId id="2147485798" r:id="rId157"/>
    <p:sldLayoutId id="2147485468" r:id="rId158"/>
    <p:sldLayoutId id="2147485629" r:id="rId159"/>
    <p:sldLayoutId id="2147485358" r:id="rId160"/>
    <p:sldLayoutId id="2147485630" r:id="rId161"/>
    <p:sldLayoutId id="2147485631" r:id="rId162"/>
    <p:sldLayoutId id="2147485632" r:id="rId163"/>
    <p:sldLayoutId id="2147485385" r:id="rId164"/>
    <p:sldLayoutId id="2147485633" r:id="rId165"/>
    <p:sldLayoutId id="2147485469" r:id="rId166"/>
    <p:sldLayoutId id="2147484570" r:id="rId167"/>
    <p:sldLayoutId id="2147484364" r:id="rId168"/>
    <p:sldLayoutId id="2147484272" r:id="rId169"/>
    <p:sldLayoutId id="2147484273" r:id="rId170"/>
    <p:sldLayoutId id="2147484274" r:id="rId171"/>
    <p:sldLayoutId id="2147484275" r:id="rId172"/>
    <p:sldLayoutId id="2147484276" r:id="rId173"/>
    <p:sldLayoutId id="2147484277" r:id="rId174"/>
    <p:sldLayoutId id="2147484238" r:id="rId175"/>
    <p:sldLayoutId id="2147484278" r:id="rId176"/>
    <p:sldLayoutId id="2147486704" r:id="rId177"/>
    <p:sldLayoutId id="2147484279" r:id="rId178"/>
    <p:sldLayoutId id="2147484280" r:id="rId179"/>
    <p:sldLayoutId id="2147484281" r:id="rId180"/>
    <p:sldLayoutId id="2147484282" r:id="rId181"/>
    <p:sldLayoutId id="2147484283" r:id="rId182"/>
    <p:sldLayoutId id="2147484237" r:id="rId183"/>
    <p:sldLayoutId id="2147484284" r:id="rId184"/>
    <p:sldLayoutId id="2147483722" r:id="rId185"/>
    <p:sldLayoutId id="2147484572" r:id="rId186"/>
    <p:sldLayoutId id="2147483792" r:id="rId187"/>
    <p:sldLayoutId id="2147483793" r:id="rId188"/>
    <p:sldLayoutId id="2147483794" r:id="rId189"/>
    <p:sldLayoutId id="2147486708" r:id="rId190"/>
    <p:sldLayoutId id="2147483796" r:id="rId191"/>
    <p:sldLayoutId id="2147483797" r:id="rId192"/>
    <p:sldLayoutId id="2147483798" r:id="rId193"/>
    <p:sldLayoutId id="2147483799" r:id="rId194"/>
    <p:sldLayoutId id="2147483800" r:id="rId195"/>
    <p:sldLayoutId id="2147483801" r:id="rId196"/>
    <p:sldLayoutId id="2147484222" r:id="rId197"/>
    <p:sldLayoutId id="2147485705" r:id="rId198"/>
    <p:sldLayoutId id="2147485009" r:id="rId199"/>
    <p:sldLayoutId id="2147484231" r:id="rId200"/>
    <p:sldLayoutId id="2147484268" r:id="rId201"/>
    <p:sldLayoutId id="2147484235" r:id="rId202"/>
    <p:sldLayoutId id="2147486706" r:id="rId203"/>
    <p:sldLayoutId id="2147484245" r:id="rId204"/>
    <p:sldLayoutId id="2147484262" r:id="rId205"/>
    <p:sldLayoutId id="2147484285" r:id="rId206"/>
    <p:sldLayoutId id="2147484286" r:id="rId207"/>
    <p:sldLayoutId id="2147484287" r:id="rId208"/>
    <p:sldLayoutId id="2147484233" r:id="rId209"/>
    <p:sldLayoutId id="2147484821" r:id="rId210"/>
    <p:sldLayoutId id="2147483716" r:id="rId211"/>
    <p:sldLayoutId id="2147485239" r:id="rId212"/>
    <p:sldLayoutId id="2147484848" r:id="rId213"/>
    <p:sldLayoutId id="2147483717" r:id="rId214"/>
    <p:sldLayoutId id="2147483718" r:id="rId215"/>
    <p:sldLayoutId id="2147484400" r:id="rId216"/>
    <p:sldLayoutId id="2147484401" r:id="rId217"/>
    <p:sldLayoutId id="2147484402" r:id="rId218"/>
    <p:sldLayoutId id="2147484822" r:id="rId219"/>
    <p:sldLayoutId id="2147486251" r:id="rId220"/>
    <p:sldLayoutId id="2147484849" r:id="rId221"/>
    <p:sldLayoutId id="2147484850" r:id="rId222"/>
    <p:sldLayoutId id="2147485709" r:id="rId223"/>
    <p:sldLayoutId id="2147485713" r:id="rId224"/>
    <p:sldLayoutId id="2147485720" r:id="rId225"/>
    <p:sldLayoutId id="2147485568" r:id="rId226"/>
    <p:sldLayoutId id="2147485714" r:id="rId227"/>
    <p:sldLayoutId id="2147485715" r:id="rId228"/>
    <p:sldLayoutId id="2147485716" r:id="rId229"/>
    <p:sldLayoutId id="2147485582" r:id="rId230"/>
    <p:sldLayoutId id="2147485718" r:id="rId231"/>
    <p:sldLayoutId id="2147485711" r:id="rId232"/>
    <p:sldLayoutId id="2147486792" r:id="rId233"/>
    <p:sldLayoutId id="2147483675" r:id="rId234"/>
    <p:sldLayoutId id="2147484288" r:id="rId235"/>
    <p:sldLayoutId id="2147484289" r:id="rId236"/>
    <p:sldLayoutId id="2147484290" r:id="rId237"/>
    <p:sldLayoutId id="2147484291" r:id="rId238"/>
    <p:sldLayoutId id="2147484292" r:id="rId239"/>
    <p:sldLayoutId id="2147484293" r:id="rId240"/>
    <p:sldLayoutId id="2147484294" r:id="rId241"/>
    <p:sldLayoutId id="2147484295" r:id="rId242"/>
    <p:sldLayoutId id="2147484296" r:id="rId243"/>
    <p:sldLayoutId id="2147485409" r:id="rId244"/>
    <p:sldLayoutId id="2147485634" r:id="rId245"/>
    <p:sldLayoutId id="2147485635" r:id="rId246"/>
    <p:sldLayoutId id="2147485367" r:id="rId247"/>
    <p:sldLayoutId id="2147485368" r:id="rId248"/>
    <p:sldLayoutId id="2147485369" r:id="rId249"/>
    <p:sldLayoutId id="2147485400" r:id="rId250"/>
    <p:sldLayoutId id="2147485401" r:id="rId251"/>
    <p:sldLayoutId id="2147485402" r:id="rId252"/>
    <p:sldLayoutId id="2147485403" r:id="rId253"/>
    <p:sldLayoutId id="2147483868" r:id="rId254"/>
    <p:sldLayoutId id="2147484386" r:id="rId255"/>
    <p:sldLayoutId id="2147484815" r:id="rId256"/>
    <p:sldLayoutId id="2147484816" r:id="rId257"/>
    <p:sldLayoutId id="2147484817" r:id="rId258"/>
    <p:sldLayoutId id="2147485678" r:id="rId259"/>
    <p:sldLayoutId id="2147485577" r:id="rId260"/>
    <p:sldLayoutId id="2147485578" r:id="rId261"/>
    <p:sldLayoutId id="2147485616" r:id="rId262"/>
    <p:sldLayoutId id="2147484330" r:id="rId263"/>
    <p:sldLayoutId id="2147484331" r:id="rId264"/>
    <p:sldLayoutId id="2147484332" r:id="rId265"/>
    <p:sldLayoutId id="2147484485" r:id="rId266"/>
    <p:sldLayoutId id="2147484486" r:id="rId267"/>
    <p:sldLayoutId id="2147484609" r:id="rId268"/>
    <p:sldLayoutId id="2147485618" r:id="rId269"/>
    <p:sldLayoutId id="2147485619" r:id="rId270"/>
    <p:sldLayoutId id="2147485620" r:id="rId271"/>
    <p:sldLayoutId id="2147485419" r:id="rId272"/>
    <p:sldLayoutId id="2147485420" r:id="rId273"/>
    <p:sldLayoutId id="2147485179" r:id="rId274"/>
    <p:sldLayoutId id="2147485215" r:id="rId275"/>
    <p:sldLayoutId id="2147485677" r:id="rId276"/>
    <p:sldLayoutId id="2147486360" r:id="rId277"/>
    <p:sldLayoutId id="2147485556" r:id="rId278"/>
    <p:sldLayoutId id="2147486361" r:id="rId279"/>
    <p:sldLayoutId id="2147485425" r:id="rId280"/>
    <p:sldLayoutId id="2147486779" r:id="rId281"/>
    <p:sldLayoutId id="2147486048" r:id="rId282"/>
    <p:sldLayoutId id="2147485579" r:id="rId283"/>
    <p:sldLayoutId id="2147486829" r:id="rId284"/>
    <p:sldLayoutId id="2147485391" r:id="rId285"/>
    <p:sldLayoutId id="2147485392" r:id="rId286"/>
    <p:sldLayoutId id="2147486709" r:id="rId287"/>
    <p:sldLayoutId id="2147486716" r:id="rId288"/>
    <p:sldLayoutId id="2147484354" r:id="rId289"/>
    <p:sldLayoutId id="2147485638" r:id="rId290"/>
    <p:sldLayoutId id="2147485393" r:id="rId291"/>
    <p:sldLayoutId id="2147485394" r:id="rId292"/>
    <p:sldLayoutId id="2147485395" r:id="rId293"/>
    <p:sldLayoutId id="2147484376" r:id="rId294"/>
    <p:sldLayoutId id="2147484377" r:id="rId295"/>
    <p:sldLayoutId id="2147484378" r:id="rId296"/>
    <p:sldLayoutId id="2147485396" r:id="rId297"/>
    <p:sldLayoutId id="2147484379" r:id="rId298"/>
    <p:sldLayoutId id="2147483676" r:id="rId299"/>
    <p:sldLayoutId id="2147483877" r:id="rId300"/>
    <p:sldLayoutId id="2147483878" r:id="rId301"/>
    <p:sldLayoutId id="2147485602" r:id="rId302"/>
    <p:sldLayoutId id="2147485770" r:id="rId303"/>
    <p:sldLayoutId id="2147485771" r:id="rId304"/>
    <p:sldLayoutId id="2147485613" r:id="rId305"/>
    <p:sldLayoutId id="2147483677" r:id="rId306"/>
    <p:sldLayoutId id="2147483678" r:id="rId307"/>
    <p:sldLayoutId id="2147483679" r:id="rId308"/>
    <p:sldLayoutId id="2147484608" r:id="rId309"/>
    <p:sldLayoutId id="2147484579" r:id="rId310"/>
    <p:sldLayoutId id="2147484580" r:id="rId311"/>
    <p:sldLayoutId id="2147483879" r:id="rId312"/>
    <p:sldLayoutId id="2147484297" r:id="rId313"/>
    <p:sldLayoutId id="2147484298" r:id="rId314"/>
    <p:sldLayoutId id="2147484260" r:id="rId315"/>
    <p:sldLayoutId id="2147486707" r:id="rId316"/>
    <p:sldLayoutId id="2147484299" r:id="rId317"/>
    <p:sldLayoutId id="2147484267" r:id="rId318"/>
    <p:sldLayoutId id="2147484300" r:id="rId319"/>
    <p:sldLayoutId id="2147484301" r:id="rId320"/>
    <p:sldLayoutId id="2147484302" r:id="rId321"/>
    <p:sldLayoutId id="2147484303" r:id="rId322"/>
    <p:sldLayoutId id="2147484650" r:id="rId323"/>
    <p:sldLayoutId id="2147484651" r:id="rId324"/>
    <p:sldLayoutId id="2147486252" r:id="rId325"/>
    <p:sldLayoutId id="2147486253" r:id="rId326"/>
    <p:sldLayoutId id="2147486363" r:id="rId327"/>
    <p:sldLayoutId id="2147486364" r:id="rId328"/>
    <p:sldLayoutId id="2147486365" r:id="rId329"/>
    <p:sldLayoutId id="2147486366" r:id="rId330"/>
    <p:sldLayoutId id="2147486367" r:id="rId331"/>
    <p:sldLayoutId id="2147486368" r:id="rId332"/>
    <p:sldLayoutId id="2147486369" r:id="rId333"/>
    <p:sldLayoutId id="2147484652" r:id="rId334"/>
    <p:sldLayoutId id="2147484653" r:id="rId335"/>
    <p:sldLayoutId id="2147484999" r:id="rId336"/>
    <p:sldLayoutId id="2147485000" r:id="rId337"/>
    <p:sldLayoutId id="2147485001" r:id="rId338"/>
    <p:sldLayoutId id="2147485002" r:id="rId339"/>
    <p:sldLayoutId id="2147485006" r:id="rId340"/>
    <p:sldLayoutId id="2147485007" r:id="rId341"/>
    <p:sldLayoutId id="2147485008" r:id="rId342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39F9A0-8CBE-4C3C-85F1-91B2141E10B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44116"/>
            <a:ext cx="12192000" cy="64273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465" y="126609"/>
            <a:ext cx="11179127" cy="11119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465" y="1575583"/>
            <a:ext cx="11163875" cy="460138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53583" y="6354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EB727E-5B2C-4310-AB66-CE5561C8F4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858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30" r:id="rId1"/>
    <p:sldLayoutId id="2147486831" r:id="rId2"/>
    <p:sldLayoutId id="2147486832" r:id="rId3"/>
    <p:sldLayoutId id="2147483680" r:id="rId4"/>
    <p:sldLayoutId id="2147484363" r:id="rId5"/>
    <p:sldLayoutId id="2147483685" r:id="rId6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700" b="1" kern="1200">
          <a:solidFill>
            <a:schemeClr val="bg2">
              <a:lumMod val="50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10741" indent="-210741" algn="l" defTabSz="685800" rtl="0" eaLnBrk="1" latinLnBrk="0" hangingPunct="1">
        <a:lnSpc>
          <a:spcPct val="9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225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601266" indent="-264319" algn="l" defTabSz="685800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‒"/>
        <a:defRPr sz="225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-"/>
        <a:defRPr sz="195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16806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4365" r:id="rId2"/>
    <p:sldLayoutId id="2147483711" r:id="rId3"/>
    <p:sldLayoutId id="2147484374" r:id="rId4"/>
    <p:sldLayoutId id="2147486822" r:id="rId5"/>
    <p:sldLayoutId id="2147483714" r:id="rId6"/>
    <p:sldLayoutId id="2147483715" r:id="rId7"/>
    <p:sldLayoutId id="2147484366" r:id="rId8"/>
    <p:sldLayoutId id="2147484369" r:id="rId9"/>
    <p:sldLayoutId id="2147484370" r:id="rId10"/>
    <p:sldLayoutId id="2147484371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452931"/>
            <a:ext cx="11430000" cy="114300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540" y="1604789"/>
            <a:ext cx="11203665" cy="423845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86E5B08-D367-AE4D-9A0D-845D230B5631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8C63AA78-D5E6-C844-94E6-23F0A6B45EA2}"/>
              </a:ext>
            </a:extLst>
          </p:cNvPr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9911D3-C2DB-8242-8965-3E8355B711AA}"/>
              </a:ext>
            </a:extLst>
          </p:cNvPr>
          <p:cNvSpPr txBox="1"/>
          <p:nvPr/>
        </p:nvSpPr>
        <p:spPr>
          <a:xfrm>
            <a:off x="-795131" y="2117035"/>
            <a:ext cx="0" cy="0"/>
          </a:xfrm>
          <a:prstGeom prst="rect">
            <a:avLst/>
          </a:prstGeom>
        </p:spPr>
        <p:txBody>
          <a:bodyPr wrap="none" lIns="91402" tIns="45700" rIns="91402" bIns="45700" rtlCol="0" anchor="ctr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endParaRPr lang="en-US" sz="1574">
              <a:solidFill>
                <a:schemeClr val="bg1">
                  <a:lumMod val="50000"/>
                </a:schemeClr>
              </a:solidFill>
              <a:cs typeface="Calibri"/>
            </a:endParaRPr>
          </a:p>
        </p:txBody>
      </p:sp>
    </p:spTree>
    <p:custDataLst>
      <p:tags r:id="rId22"/>
    </p:custDataLst>
    <p:extLst>
      <p:ext uri="{BB962C8B-B14F-4D97-AF65-F5344CB8AC3E}">
        <p14:creationId xmlns:p14="http://schemas.microsoft.com/office/powerpoint/2010/main" val="73442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2" r:id="rId1"/>
    <p:sldLayoutId id="2147484593" r:id="rId2"/>
    <p:sldLayoutId id="2147484594" r:id="rId3"/>
    <p:sldLayoutId id="2147484595" r:id="rId4"/>
    <p:sldLayoutId id="2147486804" r:id="rId5"/>
    <p:sldLayoutId id="2147484597" r:id="rId6"/>
    <p:sldLayoutId id="2147486805" r:id="rId7"/>
    <p:sldLayoutId id="2147484599" r:id="rId8"/>
    <p:sldLayoutId id="2147484600" r:id="rId9"/>
    <p:sldLayoutId id="2147486806" r:id="rId10"/>
    <p:sldLayoutId id="2147486807" r:id="rId11"/>
    <p:sldLayoutId id="2147486808" r:id="rId12"/>
    <p:sldLayoutId id="2147486809" r:id="rId13"/>
    <p:sldLayoutId id="2147484605" r:id="rId14"/>
    <p:sldLayoutId id="2147484606" r:id="rId15"/>
    <p:sldLayoutId id="2147484607" r:id="rId16"/>
    <p:sldLayoutId id="2147486833" r:id="rId17"/>
    <p:sldLayoutId id="2147486826" r:id="rId18"/>
    <p:sldLayoutId id="2147484610" r:id="rId19"/>
    <p:sldLayoutId id="2147484611" r:id="rId20"/>
  </p:sldLayoutIdLst>
  <p:txStyles>
    <p:titleStyle>
      <a:lvl1pPr algn="l" defTabSz="457013" rtl="0" eaLnBrk="1" latinLnBrk="0" hangingPunct="1">
        <a:spcBef>
          <a:spcPct val="0"/>
        </a:spcBef>
        <a:buNone/>
        <a:defRPr sz="2400" b="1" kern="1200" spc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37021" indent="-137021" algn="l" defTabSz="457013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99746" indent="-148472" algn="l" defTabSz="457013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62472" indent="-159926" algn="l" defTabSz="457013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3745" indent="-159926" algn="l" defTabSz="457013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65019" indent="-159926" algn="l" defTabSz="457013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572" indent="-228506" algn="l" defTabSz="457013" rtl="0" eaLnBrk="1" latinLnBrk="0" hangingPunct="1">
        <a:spcBef>
          <a:spcPct val="20000"/>
        </a:spcBef>
        <a:buFont typeface="Arial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6pPr>
      <a:lvl7pPr marL="2970584" indent="-228506" algn="l" defTabSz="457013" rtl="0" eaLnBrk="1" latinLnBrk="0" hangingPunct="1">
        <a:spcBef>
          <a:spcPct val="20000"/>
        </a:spcBef>
        <a:buFont typeface="Arial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7pPr>
      <a:lvl8pPr marL="3427596" indent="-228506" algn="l" defTabSz="457013" rtl="0" eaLnBrk="1" latinLnBrk="0" hangingPunct="1">
        <a:spcBef>
          <a:spcPct val="20000"/>
        </a:spcBef>
        <a:buFont typeface="Arial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8pPr>
      <a:lvl9pPr marL="3884609" indent="-228506" algn="l" defTabSz="457013" rtl="0" eaLnBrk="1" latinLnBrk="0" hangingPunct="1">
        <a:spcBef>
          <a:spcPct val="20000"/>
        </a:spcBef>
        <a:buFont typeface="Arial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1pPr>
      <a:lvl2pPr marL="457013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2pPr>
      <a:lvl3pPr marL="914026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3pPr>
      <a:lvl4pPr marL="1371040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4pPr>
      <a:lvl5pPr marL="1828052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5pPr>
      <a:lvl6pPr marL="2285065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6pPr>
      <a:lvl7pPr marL="2742077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7pPr>
      <a:lvl8pPr marL="3199091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8pPr>
      <a:lvl9pPr marL="3656104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92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576">
          <p15:clr>
            <a:srgbClr val="F26B43"/>
          </p15:clr>
        </p15:guide>
        <p15:guide id="6" orient="horz" pos="39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452931"/>
            <a:ext cx="11430000" cy="114300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538" y="1604789"/>
            <a:ext cx="11203665" cy="423845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86E5B08-D367-AE4D-9A0D-845D230B5631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8C63AA78-D5E6-C844-94E6-23F0A6B45EA2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9911D3-C2DB-8242-8965-3E8355B711AA}"/>
              </a:ext>
            </a:extLst>
          </p:cNvPr>
          <p:cNvSpPr txBox="1"/>
          <p:nvPr userDrawn="1"/>
        </p:nvSpPr>
        <p:spPr>
          <a:xfrm>
            <a:off x="-795131" y="2117035"/>
            <a:ext cx="0" cy="0"/>
          </a:xfrm>
          <a:prstGeom prst="rect">
            <a:avLst/>
          </a:prstGeom>
        </p:spPr>
        <p:txBody>
          <a:bodyPr wrap="none" lIns="121869" tIns="60933" rIns="121869" bIns="60933" rtlCol="0" anchor="ctr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endParaRPr lang="en-US" sz="2099">
              <a:solidFill>
                <a:schemeClr val="bg1">
                  <a:lumMod val="50000"/>
                </a:schemeClr>
              </a:solidFill>
              <a:cs typeface="Calibri"/>
            </a:endParaRPr>
          </a:p>
        </p:txBody>
      </p:sp>
    </p:spTree>
    <p:custDataLst>
      <p:custData r:id="rId13"/>
      <p:tags r:id="rId14"/>
    </p:custDataLst>
    <p:extLst>
      <p:ext uri="{BB962C8B-B14F-4D97-AF65-F5344CB8AC3E}">
        <p14:creationId xmlns:p14="http://schemas.microsoft.com/office/powerpoint/2010/main" val="4273236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4" r:id="rId1"/>
    <p:sldLayoutId id="2147484615" r:id="rId2"/>
    <p:sldLayoutId id="2147484616" r:id="rId3"/>
    <p:sldLayoutId id="2147484617" r:id="rId4"/>
    <p:sldLayoutId id="2147484618" r:id="rId5"/>
    <p:sldLayoutId id="2147484619" r:id="rId6"/>
    <p:sldLayoutId id="2147484620" r:id="rId7"/>
    <p:sldLayoutId id="2147484621" r:id="rId8"/>
    <p:sldLayoutId id="2147484622" r:id="rId9"/>
    <p:sldLayoutId id="2147484623" r:id="rId10"/>
    <p:sldLayoutId id="2147484624" r:id="rId11"/>
  </p:sldLayoutIdLst>
  <p:hf hdr="0" ftr="0" dt="0"/>
  <p:txStyles>
    <p:titleStyle>
      <a:lvl1pPr algn="l" defTabSz="609351" rtl="0" eaLnBrk="1" latinLnBrk="0" hangingPunct="1">
        <a:spcBef>
          <a:spcPct val="0"/>
        </a:spcBef>
        <a:buNone/>
        <a:defRPr sz="3200" b="1" kern="1200" spc="0">
          <a:solidFill>
            <a:schemeClr val="tx1">
              <a:lumMod val="90000"/>
              <a:lumOff val="1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014" indent="-45701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990195" indent="-380843" algn="l" defTabSz="609351" rtl="0" eaLnBrk="1" latinLnBrk="0" hangingPunct="1">
        <a:spcBef>
          <a:spcPct val="20000"/>
        </a:spcBef>
        <a:buFont typeface="Arial"/>
        <a:buChar char="–"/>
        <a:defRPr sz="2299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1523376" indent="-304674" algn="l" defTabSz="609351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2132726" indent="-304674" algn="l" defTabSz="609351" rtl="0" eaLnBrk="1" latinLnBrk="0" hangingPunct="1">
        <a:spcBef>
          <a:spcPct val="20000"/>
        </a:spcBef>
        <a:buFont typeface="Arial"/>
        <a:buChar char="–"/>
        <a:defRPr sz="1699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2742078" indent="-304674" algn="l" defTabSz="609351" rtl="0" eaLnBrk="1" latinLnBrk="0" hangingPunct="1">
        <a:spcBef>
          <a:spcPct val="20000"/>
        </a:spcBef>
        <a:buFont typeface="Arial"/>
        <a:buChar char="»"/>
        <a:defRPr sz="1699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3351429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778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570128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479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1pPr>
      <a:lvl2pPr marL="609351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701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05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402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5pPr>
      <a:lvl6pPr marL="304675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10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454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8pPr>
      <a:lvl9pPr marL="4874805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92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57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452931"/>
            <a:ext cx="11430000" cy="114300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538" y="1604789"/>
            <a:ext cx="11203665" cy="423845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86E5B08-D367-AE4D-9A0D-845D230B5631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8C63AA78-D5E6-C844-94E6-23F0A6B45EA2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9911D3-C2DB-8242-8965-3E8355B711AA}"/>
              </a:ext>
            </a:extLst>
          </p:cNvPr>
          <p:cNvSpPr txBox="1"/>
          <p:nvPr userDrawn="1"/>
        </p:nvSpPr>
        <p:spPr>
          <a:xfrm>
            <a:off x="-795131" y="2117035"/>
            <a:ext cx="0" cy="0"/>
          </a:xfrm>
          <a:prstGeom prst="rect">
            <a:avLst/>
          </a:prstGeom>
        </p:spPr>
        <p:txBody>
          <a:bodyPr wrap="none" lIns="121869" tIns="60933" rIns="121869" bIns="60933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99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ヒラギノ角ゴ Pro W3" pitchFamily="116" charset="-128"/>
              <a:cs typeface="Calibri"/>
            </a:endParaRPr>
          </a:p>
        </p:txBody>
      </p:sp>
    </p:spTree>
    <p:custDataLst>
      <p:custData r:id="rId15"/>
      <p:tags r:id="rId16"/>
    </p:custDataLst>
    <p:extLst>
      <p:ext uri="{BB962C8B-B14F-4D97-AF65-F5344CB8AC3E}">
        <p14:creationId xmlns:p14="http://schemas.microsoft.com/office/powerpoint/2010/main" val="651494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10" r:id="rId1"/>
    <p:sldLayoutId id="2147484627" r:id="rId2"/>
    <p:sldLayoutId id="2147484628" r:id="rId3"/>
    <p:sldLayoutId id="2147484629" r:id="rId4"/>
    <p:sldLayoutId id="2147484630" r:id="rId5"/>
    <p:sldLayoutId id="2147484631" r:id="rId6"/>
    <p:sldLayoutId id="2147484632" r:id="rId7"/>
    <p:sldLayoutId id="2147484633" r:id="rId8"/>
    <p:sldLayoutId id="2147484634" r:id="rId9"/>
    <p:sldLayoutId id="2147484635" r:id="rId10"/>
    <p:sldLayoutId id="2147484636" r:id="rId11"/>
    <p:sldLayoutId id="2147484637" r:id="rId12"/>
    <p:sldLayoutId id="2147484638" r:id="rId13"/>
  </p:sldLayoutIdLst>
  <p:hf hdr="0" ftr="0" dt="0"/>
  <p:txStyles>
    <p:titleStyle>
      <a:lvl1pPr algn="l" defTabSz="609351" rtl="0" eaLnBrk="1" latinLnBrk="0" hangingPunct="1">
        <a:spcBef>
          <a:spcPct val="0"/>
        </a:spcBef>
        <a:buNone/>
        <a:defRPr sz="3200" b="1" kern="1200" spc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82694" indent="-182694" algn="l" defTabSz="60935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2995" indent="-197963" algn="l" defTabSz="60935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83296" indent="-213234" algn="l" defTabSz="60935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8326" indent="-213234" algn="l" defTabSz="60935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53358" indent="-213234" algn="l" defTabSz="60935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1429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778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570128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479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1pPr>
      <a:lvl2pPr marL="609351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701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05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402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5pPr>
      <a:lvl6pPr marL="304675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10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454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8pPr>
      <a:lvl9pPr marL="4874805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92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576">
          <p15:clr>
            <a:srgbClr val="F26B43"/>
          </p15:clr>
        </p15:guide>
        <p15:guide id="6" orient="horz" pos="391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80994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5" r:id="rId1"/>
    <p:sldLayoutId id="2147484656" r:id="rId2"/>
    <p:sldLayoutId id="2147484657" r:id="rId3"/>
    <p:sldLayoutId id="2147484658" r:id="rId4"/>
    <p:sldLayoutId id="2147484659" r:id="rId5"/>
    <p:sldLayoutId id="2147484660" r:id="rId6"/>
    <p:sldLayoutId id="2147484661" r:id="rId7"/>
    <p:sldLayoutId id="2147484662" r:id="rId8"/>
    <p:sldLayoutId id="2147484663" r:id="rId9"/>
    <p:sldLayoutId id="2147484664" r:id="rId10"/>
    <p:sldLayoutId id="2147484665" r:id="rId11"/>
    <p:sldLayoutId id="2147484666" r:id="rId12"/>
    <p:sldLayoutId id="2147484667" r:id="rId13"/>
    <p:sldLayoutId id="2147484668" r:id="rId14"/>
    <p:sldLayoutId id="2147484669" r:id="rId15"/>
    <p:sldLayoutId id="2147484670" r:id="rId16"/>
    <p:sldLayoutId id="2147484671" r:id="rId17"/>
    <p:sldLayoutId id="2147484672" r:id="rId18"/>
    <p:sldLayoutId id="2147484673" r:id="rId19"/>
    <p:sldLayoutId id="2147484674" r:id="rId20"/>
    <p:sldLayoutId id="2147484675" r:id="rId21"/>
    <p:sldLayoutId id="2147484676" r:id="rId22"/>
    <p:sldLayoutId id="2147484677" r:id="rId23"/>
    <p:sldLayoutId id="2147484678" r:id="rId24"/>
    <p:sldLayoutId id="2147484679" r:id="rId25"/>
    <p:sldLayoutId id="2147484680" r:id="rId26"/>
    <p:sldLayoutId id="2147484681" r:id="rId27"/>
    <p:sldLayoutId id="2147484682" r:id="rId28"/>
    <p:sldLayoutId id="2147484683" r:id="rId29"/>
    <p:sldLayoutId id="2147484684" r:id="rId30"/>
    <p:sldLayoutId id="2147484685" r:id="rId31"/>
    <p:sldLayoutId id="2147484686" r:id="rId32"/>
    <p:sldLayoutId id="2147484687" r:id="rId33"/>
    <p:sldLayoutId id="2147484688" r:id="rId34"/>
    <p:sldLayoutId id="2147484689" r:id="rId35"/>
    <p:sldLayoutId id="2147484701" r:id="rId36"/>
    <p:sldLayoutId id="2147484702" r:id="rId37"/>
    <p:sldLayoutId id="2147484703" r:id="rId38"/>
    <p:sldLayoutId id="2147484704" r:id="rId39"/>
    <p:sldLayoutId id="2147484705" r:id="rId40"/>
    <p:sldLayoutId id="2147484716" r:id="rId41"/>
    <p:sldLayoutId id="2147484717" r:id="rId42"/>
    <p:sldLayoutId id="2147484718" r:id="rId43"/>
    <p:sldLayoutId id="2147484719" r:id="rId44"/>
    <p:sldLayoutId id="2147484720" r:id="rId45"/>
    <p:sldLayoutId id="2147484721" r:id="rId46"/>
    <p:sldLayoutId id="2147484722" r:id="rId47"/>
    <p:sldLayoutId id="2147484723" r:id="rId48"/>
    <p:sldLayoutId id="2147484724" r:id="rId49"/>
    <p:sldLayoutId id="2147484725" r:id="rId50"/>
    <p:sldLayoutId id="2147484726" r:id="rId51"/>
    <p:sldLayoutId id="2147484727" r:id="rId52"/>
    <p:sldLayoutId id="2147484751" r:id="rId53"/>
    <p:sldLayoutId id="2147484752" r:id="rId54"/>
    <p:sldLayoutId id="2147484753" r:id="rId55"/>
    <p:sldLayoutId id="2147484754" r:id="rId56"/>
    <p:sldLayoutId id="2147484755" r:id="rId57"/>
    <p:sldLayoutId id="2147484756" r:id="rId58"/>
    <p:sldLayoutId id="2147484757" r:id="rId59"/>
    <p:sldLayoutId id="2147484758" r:id="rId60"/>
    <p:sldLayoutId id="2147484759" r:id="rId61"/>
    <p:sldLayoutId id="2147484760" r:id="rId62"/>
    <p:sldLayoutId id="2147484762" r:id="rId63"/>
    <p:sldLayoutId id="2147484763" r:id="rId64"/>
    <p:sldLayoutId id="2147484764" r:id="rId65"/>
    <p:sldLayoutId id="2147484765" r:id="rId66"/>
    <p:sldLayoutId id="2147484766" r:id="rId67"/>
    <p:sldLayoutId id="2147484767" r:id="rId68"/>
    <p:sldLayoutId id="2147484768" r:id="rId69"/>
    <p:sldLayoutId id="2147484769" r:id="rId70"/>
    <p:sldLayoutId id="2147484770" r:id="rId71"/>
    <p:sldLayoutId id="2147484771" r:id="rId72"/>
    <p:sldLayoutId id="2147484772" r:id="rId73"/>
    <p:sldLayoutId id="2147484773" r:id="rId74"/>
    <p:sldLayoutId id="2147484774" r:id="rId75"/>
    <p:sldLayoutId id="2147484775" r:id="rId76"/>
    <p:sldLayoutId id="2147484777" r:id="rId77"/>
    <p:sldLayoutId id="2147484778" r:id="rId78"/>
    <p:sldLayoutId id="2147484779" r:id="rId79"/>
    <p:sldLayoutId id="2147484780" r:id="rId80"/>
    <p:sldLayoutId id="2147484781" r:id="rId81"/>
    <p:sldLayoutId id="2147484782" r:id="rId82"/>
    <p:sldLayoutId id="2147484783" r:id="rId83"/>
    <p:sldLayoutId id="2147484784" r:id="rId84"/>
    <p:sldLayoutId id="2147484785" r:id="rId85"/>
    <p:sldLayoutId id="2147484786" r:id="rId86"/>
    <p:sldLayoutId id="2147484787" r:id="rId87"/>
    <p:sldLayoutId id="2147484788" r:id="rId88"/>
    <p:sldLayoutId id="2147484789" r:id="rId89"/>
    <p:sldLayoutId id="2147484790" r:id="rId90"/>
    <p:sldLayoutId id="2147484791" r:id="rId91"/>
    <p:sldLayoutId id="2147484792" r:id="rId92"/>
    <p:sldLayoutId id="2147484793" r:id="rId93"/>
    <p:sldLayoutId id="2147484794" r:id="rId94"/>
    <p:sldLayoutId id="2147484795" r:id="rId95"/>
    <p:sldLayoutId id="2147484796" r:id="rId96"/>
    <p:sldLayoutId id="2147484797" r:id="rId97"/>
    <p:sldLayoutId id="2147484798" r:id="rId98"/>
    <p:sldLayoutId id="2147484799" r:id="rId99"/>
    <p:sldLayoutId id="2147484800" r:id="rId100"/>
    <p:sldLayoutId id="2147484801" r:id="rId101"/>
    <p:sldLayoutId id="2147484802" r:id="rId102"/>
    <p:sldLayoutId id="2147484809" r:id="rId103"/>
    <p:sldLayoutId id="2147484810" r:id="rId104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00651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0" r:id="rId1"/>
    <p:sldLayoutId id="2147484941" r:id="rId2"/>
    <p:sldLayoutId id="2147484942" r:id="rId3"/>
    <p:sldLayoutId id="2147484943" r:id="rId4"/>
    <p:sldLayoutId id="2147484944" r:id="rId5"/>
    <p:sldLayoutId id="2147484945" r:id="rId6"/>
    <p:sldLayoutId id="2147484946" r:id="rId7"/>
    <p:sldLayoutId id="2147484947" r:id="rId8"/>
    <p:sldLayoutId id="2147484948" r:id="rId9"/>
    <p:sldLayoutId id="2147484949" r:id="rId10"/>
    <p:sldLayoutId id="2147484950" r:id="rId11"/>
    <p:sldLayoutId id="2147484951" r:id="rId12"/>
    <p:sldLayoutId id="2147484952" r:id="rId13"/>
    <p:sldLayoutId id="2147484953" r:id="rId14"/>
    <p:sldLayoutId id="2147484954" r:id="rId15"/>
    <p:sldLayoutId id="2147484955" r:id="rId16"/>
    <p:sldLayoutId id="2147484956" r:id="rId17"/>
    <p:sldLayoutId id="2147484957" r:id="rId18"/>
    <p:sldLayoutId id="2147484958" r:id="rId19"/>
    <p:sldLayoutId id="2147484959" r:id="rId20"/>
    <p:sldLayoutId id="2147484960" r:id="rId21"/>
    <p:sldLayoutId id="2147484962" r:id="rId22"/>
    <p:sldLayoutId id="2147484963" r:id="rId23"/>
    <p:sldLayoutId id="2147484964" r:id="rId24"/>
    <p:sldLayoutId id="2147484965" r:id="rId25"/>
    <p:sldLayoutId id="2147484967" r:id="rId26"/>
    <p:sldLayoutId id="2147484968" r:id="rId27"/>
    <p:sldLayoutId id="2147484969" r:id="rId28"/>
    <p:sldLayoutId id="2147484970" r:id="rId29"/>
    <p:sldLayoutId id="2147484971" r:id="rId30"/>
    <p:sldLayoutId id="2147484972" r:id="rId31"/>
    <p:sldLayoutId id="2147484988" r:id="rId32"/>
    <p:sldLayoutId id="2147484989" r:id="rId33"/>
    <p:sldLayoutId id="2147484990" r:id="rId34"/>
    <p:sldLayoutId id="2147484991" r:id="rId35"/>
    <p:sldLayoutId id="2147484992" r:id="rId36"/>
    <p:sldLayoutId id="2147484994" r:id="rId37"/>
    <p:sldLayoutId id="2147484995" r:id="rId38"/>
    <p:sldLayoutId id="2147484996" r:id="rId3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52727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3" r:id="rId1"/>
    <p:sldLayoutId id="2147485014" r:id="rId2"/>
    <p:sldLayoutId id="2147485015" r:id="rId3"/>
    <p:sldLayoutId id="2147485016" r:id="rId4"/>
    <p:sldLayoutId id="2147485017" r:id="rId5"/>
    <p:sldLayoutId id="2147485018" r:id="rId6"/>
    <p:sldLayoutId id="2147485019" r:id="rId7"/>
    <p:sldLayoutId id="2147485020" r:id="rId8"/>
    <p:sldLayoutId id="2147485021" r:id="rId9"/>
    <p:sldLayoutId id="2147485022" r:id="rId10"/>
    <p:sldLayoutId id="2147485023" r:id="rId11"/>
    <p:sldLayoutId id="2147485024" r:id="rId12"/>
    <p:sldLayoutId id="2147485025" r:id="rId13"/>
    <p:sldLayoutId id="2147485026" r:id="rId14"/>
    <p:sldLayoutId id="2147485027" r:id="rId15"/>
    <p:sldLayoutId id="2147485028" r:id="rId16"/>
    <p:sldLayoutId id="2147485029" r:id="rId17"/>
    <p:sldLayoutId id="2147485030" r:id="rId18"/>
    <p:sldLayoutId id="2147485031" r:id="rId19"/>
    <p:sldLayoutId id="2147485032" r:id="rId20"/>
    <p:sldLayoutId id="2147485033" r:id="rId21"/>
    <p:sldLayoutId id="2147485034" r:id="rId22"/>
    <p:sldLayoutId id="2147485035" r:id="rId23"/>
    <p:sldLayoutId id="2147485036" r:id="rId24"/>
    <p:sldLayoutId id="2147485037" r:id="rId25"/>
    <p:sldLayoutId id="2147485038" r:id="rId26"/>
    <p:sldLayoutId id="2147485039" r:id="rId27"/>
    <p:sldLayoutId id="2147485040" r:id="rId28"/>
    <p:sldLayoutId id="2147485041" r:id="rId29"/>
    <p:sldLayoutId id="2147485042" r:id="rId30"/>
    <p:sldLayoutId id="2147485043" r:id="rId31"/>
    <p:sldLayoutId id="2147485044" r:id="rId32"/>
    <p:sldLayoutId id="2147485045" r:id="rId33"/>
    <p:sldLayoutId id="2147485046" r:id="rId34"/>
    <p:sldLayoutId id="2147485047" r:id="rId35"/>
    <p:sldLayoutId id="2147485048" r:id="rId36"/>
    <p:sldLayoutId id="2147485049" r:id="rId37"/>
    <p:sldLayoutId id="2147485050" r:id="rId38"/>
    <p:sldLayoutId id="2147485051" r:id="rId39"/>
    <p:sldLayoutId id="2147485052" r:id="rId40"/>
    <p:sldLayoutId id="2147485053" r:id="rId41"/>
    <p:sldLayoutId id="2147485054" r:id="rId42"/>
    <p:sldLayoutId id="2147485055" r:id="rId43"/>
    <p:sldLayoutId id="2147485056" r:id="rId44"/>
    <p:sldLayoutId id="2147485057" r:id="rId45"/>
    <p:sldLayoutId id="2147485058" r:id="rId46"/>
    <p:sldLayoutId id="2147485060" r:id="rId47"/>
    <p:sldLayoutId id="2147485061" r:id="rId48"/>
    <p:sldLayoutId id="2147485062" r:id="rId49"/>
    <p:sldLayoutId id="2147485063" r:id="rId50"/>
    <p:sldLayoutId id="2147485064" r:id="rId51"/>
    <p:sldLayoutId id="2147485065" r:id="rId52"/>
    <p:sldLayoutId id="2147485066" r:id="rId53"/>
    <p:sldLayoutId id="2147485067" r:id="rId54"/>
    <p:sldLayoutId id="2147485068" r:id="rId55"/>
    <p:sldLayoutId id="2147485069" r:id="rId56"/>
    <p:sldLayoutId id="2147485070" r:id="rId57"/>
    <p:sldLayoutId id="2147485071" r:id="rId58"/>
    <p:sldLayoutId id="2147486823" r:id="rId59"/>
    <p:sldLayoutId id="2147485073" r:id="rId60"/>
    <p:sldLayoutId id="2147486811" r:id="rId61"/>
    <p:sldLayoutId id="2147486812" r:id="rId62"/>
    <p:sldLayoutId id="2147486813" r:id="rId63"/>
    <p:sldLayoutId id="2147486814" r:id="rId64"/>
    <p:sldLayoutId id="2147486815" r:id="rId65"/>
    <p:sldLayoutId id="2147486816" r:id="rId66"/>
    <p:sldLayoutId id="2147486817" r:id="rId67"/>
    <p:sldLayoutId id="2147486818" r:id="rId68"/>
    <p:sldLayoutId id="2147486819" r:id="rId69"/>
    <p:sldLayoutId id="2147486820" r:id="rId70"/>
    <p:sldLayoutId id="2147485084" r:id="rId71"/>
    <p:sldLayoutId id="2147485085" r:id="rId72"/>
    <p:sldLayoutId id="2147485086" r:id="rId73"/>
    <p:sldLayoutId id="2147485087" r:id="rId74"/>
    <p:sldLayoutId id="2147485088" r:id="rId75"/>
    <p:sldLayoutId id="2147485089" r:id="rId76"/>
    <p:sldLayoutId id="2147485090" r:id="rId77"/>
    <p:sldLayoutId id="2147485091" r:id="rId78"/>
    <p:sldLayoutId id="2147485092" r:id="rId79"/>
    <p:sldLayoutId id="2147485093" r:id="rId80"/>
    <p:sldLayoutId id="2147485094" r:id="rId81"/>
    <p:sldLayoutId id="2147485095" r:id="rId82"/>
    <p:sldLayoutId id="2147485096" r:id="rId83"/>
    <p:sldLayoutId id="2147485097" r:id="rId84"/>
    <p:sldLayoutId id="2147485098" r:id="rId85"/>
    <p:sldLayoutId id="2147485099" r:id="rId86"/>
    <p:sldLayoutId id="2147485100" r:id="rId87"/>
    <p:sldLayoutId id="2147485101" r:id="rId88"/>
    <p:sldLayoutId id="2147485102" r:id="rId89"/>
    <p:sldLayoutId id="2147485103" r:id="rId90"/>
    <p:sldLayoutId id="2147485104" r:id="rId91"/>
    <p:sldLayoutId id="2147485105" r:id="rId92"/>
    <p:sldLayoutId id="2147485106" r:id="rId93"/>
    <p:sldLayoutId id="2147485107" r:id="rId94"/>
    <p:sldLayoutId id="2147485108" r:id="rId95"/>
    <p:sldLayoutId id="2147485109" r:id="rId96"/>
    <p:sldLayoutId id="2147485110" r:id="rId97"/>
    <p:sldLayoutId id="2147485111" r:id="rId98"/>
    <p:sldLayoutId id="2147485112" r:id="rId99"/>
    <p:sldLayoutId id="2147485113" r:id="rId100"/>
    <p:sldLayoutId id="2147485114" r:id="rId101"/>
    <p:sldLayoutId id="2147485115" r:id="rId102"/>
    <p:sldLayoutId id="2147485120" r:id="rId103"/>
    <p:sldLayoutId id="2147485121" r:id="rId104"/>
    <p:sldLayoutId id="2147485122" r:id="rId105"/>
    <p:sldLayoutId id="2147485123" r:id="rId106"/>
    <p:sldLayoutId id="2147485124" r:id="rId107"/>
    <p:sldLayoutId id="2147485125" r:id="rId108"/>
    <p:sldLayoutId id="2147485126" r:id="rId109"/>
    <p:sldLayoutId id="2147485127" r:id="rId110"/>
    <p:sldLayoutId id="2147485128" r:id="rId111"/>
    <p:sldLayoutId id="2147485129" r:id="rId112"/>
    <p:sldLayoutId id="2147485130" r:id="rId113"/>
    <p:sldLayoutId id="2147485131" r:id="rId114"/>
    <p:sldLayoutId id="2147485132" r:id="rId115"/>
    <p:sldLayoutId id="2147485133" r:id="rId116"/>
    <p:sldLayoutId id="2147485134" r:id="rId117"/>
    <p:sldLayoutId id="2147485135" r:id="rId118"/>
    <p:sldLayoutId id="2147485136" r:id="rId119"/>
    <p:sldLayoutId id="2147485137" r:id="rId120"/>
    <p:sldLayoutId id="2147485138" r:id="rId121"/>
    <p:sldLayoutId id="2147485139" r:id="rId122"/>
    <p:sldLayoutId id="2147485140" r:id="rId123"/>
    <p:sldLayoutId id="2147485141" r:id="rId124"/>
    <p:sldLayoutId id="2147485142" r:id="rId125"/>
    <p:sldLayoutId id="2147485143" r:id="rId126"/>
    <p:sldLayoutId id="2147485144" r:id="rId127"/>
    <p:sldLayoutId id="2147485145" r:id="rId128"/>
    <p:sldLayoutId id="2147485146" r:id="rId129"/>
    <p:sldLayoutId id="2147485147" r:id="rId130"/>
    <p:sldLayoutId id="2147485148" r:id="rId131"/>
    <p:sldLayoutId id="2147485149" r:id="rId132"/>
    <p:sldLayoutId id="2147485150" r:id="rId133"/>
    <p:sldLayoutId id="2147485151" r:id="rId134"/>
    <p:sldLayoutId id="2147485152" r:id="rId135"/>
    <p:sldLayoutId id="2147485153" r:id="rId136"/>
    <p:sldLayoutId id="2147485154" r:id="rId137"/>
    <p:sldLayoutId id="2147485155" r:id="rId138"/>
    <p:sldLayoutId id="2147485156" r:id="rId139"/>
    <p:sldLayoutId id="2147485157" r:id="rId140"/>
    <p:sldLayoutId id="2147485158" r:id="rId141"/>
    <p:sldLayoutId id="2147485159" r:id="rId142"/>
    <p:sldLayoutId id="2147485160" r:id="rId143"/>
    <p:sldLayoutId id="2147485161" r:id="rId144"/>
    <p:sldLayoutId id="2147485162" r:id="rId145"/>
    <p:sldLayoutId id="2147485163" r:id="rId146"/>
    <p:sldLayoutId id="2147485164" r:id="rId147"/>
    <p:sldLayoutId id="2147485165" r:id="rId148"/>
    <p:sldLayoutId id="2147485166" r:id="rId149"/>
    <p:sldLayoutId id="2147485167" r:id="rId150"/>
    <p:sldLayoutId id="2147485168" r:id="rId151"/>
    <p:sldLayoutId id="2147485169" r:id="rId152"/>
    <p:sldLayoutId id="2147485170" r:id="rId153"/>
    <p:sldLayoutId id="2147485171" r:id="rId154"/>
    <p:sldLayoutId id="2147485172" r:id="rId155"/>
    <p:sldLayoutId id="2147485173" r:id="rId156"/>
    <p:sldLayoutId id="2147485174" r:id="rId157"/>
    <p:sldLayoutId id="2147485175" r:id="rId158"/>
    <p:sldLayoutId id="2147485176" r:id="rId159"/>
    <p:sldLayoutId id="2147485177" r:id="rId160"/>
    <p:sldLayoutId id="2147485178" r:id="rId161"/>
    <p:sldLayoutId id="2147486827" r:id="rId162"/>
    <p:sldLayoutId id="2147485180" r:id="rId163"/>
    <p:sldLayoutId id="2147485181" r:id="rId164"/>
    <p:sldLayoutId id="2147485182" r:id="rId165"/>
    <p:sldLayoutId id="2147485183" r:id="rId166"/>
    <p:sldLayoutId id="2147485184" r:id="rId167"/>
    <p:sldLayoutId id="2147485185" r:id="rId168"/>
    <p:sldLayoutId id="2147485186" r:id="rId169"/>
    <p:sldLayoutId id="2147485187" r:id="rId170"/>
    <p:sldLayoutId id="2147485188" r:id="rId171"/>
    <p:sldLayoutId id="2147485189" r:id="rId172"/>
    <p:sldLayoutId id="2147485190" r:id="rId173"/>
    <p:sldLayoutId id="2147485191" r:id="rId174"/>
    <p:sldLayoutId id="2147485192" r:id="rId175"/>
    <p:sldLayoutId id="2147485193" r:id="rId176"/>
    <p:sldLayoutId id="2147485194" r:id="rId177"/>
    <p:sldLayoutId id="2147485195" r:id="rId178"/>
    <p:sldLayoutId id="2147485196" r:id="rId179"/>
    <p:sldLayoutId id="2147485197" r:id="rId180"/>
    <p:sldLayoutId id="2147485198" r:id="rId181"/>
    <p:sldLayoutId id="2147485199" r:id="rId182"/>
    <p:sldLayoutId id="2147485200" r:id="rId183"/>
    <p:sldLayoutId id="2147485201" r:id="rId184"/>
    <p:sldLayoutId id="2147485202" r:id="rId185"/>
    <p:sldLayoutId id="2147485203" r:id="rId186"/>
    <p:sldLayoutId id="2147485204" r:id="rId187"/>
    <p:sldLayoutId id="2147485205" r:id="rId188"/>
    <p:sldLayoutId id="2147485206" r:id="rId189"/>
    <p:sldLayoutId id="2147485207" r:id="rId190"/>
    <p:sldLayoutId id="2147485208" r:id="rId191"/>
    <p:sldLayoutId id="2147485209" r:id="rId192"/>
    <p:sldLayoutId id="2147485210" r:id="rId193"/>
    <p:sldLayoutId id="2147485211" r:id="rId194"/>
    <p:sldLayoutId id="2147485212" r:id="rId195"/>
    <p:sldLayoutId id="2147485213" r:id="rId196"/>
    <p:sldLayoutId id="2147485214" r:id="rId197"/>
    <p:sldLayoutId id="2147486828" r:id="rId198"/>
    <p:sldLayoutId id="2147485216" r:id="rId199"/>
    <p:sldLayoutId id="2147485217" r:id="rId200"/>
    <p:sldLayoutId id="2147485218" r:id="rId201"/>
    <p:sldLayoutId id="2147485219" r:id="rId202"/>
    <p:sldLayoutId id="2147485220" r:id="rId203"/>
    <p:sldLayoutId id="2147485221" r:id="rId204"/>
    <p:sldLayoutId id="2147485222" r:id="rId205"/>
    <p:sldLayoutId id="2147485223" r:id="rId206"/>
    <p:sldLayoutId id="2147485224" r:id="rId207"/>
    <p:sldLayoutId id="2147485225" r:id="rId208"/>
    <p:sldLayoutId id="2147485226" r:id="rId209"/>
    <p:sldLayoutId id="2147485227" r:id="rId210"/>
    <p:sldLayoutId id="2147485229" r:id="rId211"/>
    <p:sldLayoutId id="2147485230" r:id="rId212"/>
    <p:sldLayoutId id="2147485231" r:id="rId213"/>
    <p:sldLayoutId id="2147485232" r:id="rId214"/>
    <p:sldLayoutId id="2147485233" r:id="rId215"/>
    <p:sldLayoutId id="2147485234" r:id="rId216"/>
    <p:sldLayoutId id="2147485235" r:id="rId217"/>
    <p:sldLayoutId id="2147485236" r:id="rId218"/>
    <p:sldLayoutId id="2147485237" r:id="rId219"/>
    <p:sldLayoutId id="2147485238" r:id="rId220"/>
    <p:sldLayoutId id="2147486825" r:id="rId221"/>
    <p:sldLayoutId id="2147485240" r:id="rId222"/>
    <p:sldLayoutId id="2147485241" r:id="rId223"/>
    <p:sldLayoutId id="2147485242" r:id="rId224"/>
    <p:sldLayoutId id="2147485243" r:id="rId22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19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0.svg"/><Relationship Id="rId5" Type="http://schemas.openxmlformats.org/officeDocument/2006/relationships/image" Target="../media/image119.png"/><Relationship Id="rId4" Type="http://schemas.openxmlformats.org/officeDocument/2006/relationships/image" Target="../media/image118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7" Type="http://schemas.openxmlformats.org/officeDocument/2006/relationships/image" Target="../media/image1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5.svg"/><Relationship Id="rId5" Type="http://schemas.openxmlformats.org/officeDocument/2006/relationships/image" Target="../media/image124.png"/><Relationship Id="rId4" Type="http://schemas.openxmlformats.org/officeDocument/2006/relationships/image" Target="../media/image123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png"/><Relationship Id="rId3" Type="http://schemas.openxmlformats.org/officeDocument/2006/relationships/image" Target="../media/image128.jpeg"/><Relationship Id="rId7" Type="http://schemas.openxmlformats.org/officeDocument/2006/relationships/image" Target="../media/image125.svg"/><Relationship Id="rId2" Type="http://schemas.openxmlformats.org/officeDocument/2006/relationships/image" Target="../media/image127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4.png"/><Relationship Id="rId5" Type="http://schemas.openxmlformats.org/officeDocument/2006/relationships/image" Target="../media/image130.jpeg"/><Relationship Id="rId4" Type="http://schemas.openxmlformats.org/officeDocument/2006/relationships/image" Target="../media/image129.jpeg"/><Relationship Id="rId9" Type="http://schemas.openxmlformats.org/officeDocument/2006/relationships/image" Target="../media/image123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svg"/><Relationship Id="rId13" Type="http://schemas.openxmlformats.org/officeDocument/2006/relationships/image" Target="../media/image141.png"/><Relationship Id="rId3" Type="http://schemas.openxmlformats.org/officeDocument/2006/relationships/image" Target="../media/image131.png"/><Relationship Id="rId7" Type="http://schemas.openxmlformats.org/officeDocument/2006/relationships/image" Target="../media/image135.png"/><Relationship Id="rId12" Type="http://schemas.openxmlformats.org/officeDocument/2006/relationships/image" Target="../media/image140.svg"/><Relationship Id="rId2" Type="http://schemas.openxmlformats.org/officeDocument/2006/relationships/notesSlide" Target="../notesSlides/notesSlide7.xml"/><Relationship Id="rId16" Type="http://schemas.microsoft.com/office/2018/10/relationships/comments" Target="../comments/modernComment_3DE_A3F01FC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4.svg"/><Relationship Id="rId11" Type="http://schemas.openxmlformats.org/officeDocument/2006/relationships/image" Target="../media/image139.png"/><Relationship Id="rId5" Type="http://schemas.openxmlformats.org/officeDocument/2006/relationships/image" Target="../media/image133.png"/><Relationship Id="rId15" Type="http://schemas.openxmlformats.org/officeDocument/2006/relationships/image" Target="../media/image143.png"/><Relationship Id="rId10" Type="http://schemas.openxmlformats.org/officeDocument/2006/relationships/image" Target="../media/image138.svg"/><Relationship Id="rId4" Type="http://schemas.openxmlformats.org/officeDocument/2006/relationships/image" Target="../media/image132.svg"/><Relationship Id="rId9" Type="http://schemas.openxmlformats.org/officeDocument/2006/relationships/image" Target="../media/image137.png"/><Relationship Id="rId14" Type="http://schemas.openxmlformats.org/officeDocument/2006/relationships/image" Target="../media/image142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0.png"/><Relationship Id="rId3" Type="http://schemas.openxmlformats.org/officeDocument/2006/relationships/image" Target="../media/image145.svg"/><Relationship Id="rId7" Type="http://schemas.openxmlformats.org/officeDocument/2006/relationships/image" Target="../media/image149.svg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8.png"/><Relationship Id="rId11" Type="http://schemas.openxmlformats.org/officeDocument/2006/relationships/image" Target="../media/image153.png"/><Relationship Id="rId5" Type="http://schemas.openxmlformats.org/officeDocument/2006/relationships/image" Target="../media/image147.svg"/><Relationship Id="rId10" Type="http://schemas.openxmlformats.org/officeDocument/2006/relationships/image" Target="../media/image152.png"/><Relationship Id="rId4" Type="http://schemas.openxmlformats.org/officeDocument/2006/relationships/image" Target="../media/image146.png"/><Relationship Id="rId9" Type="http://schemas.openxmlformats.org/officeDocument/2006/relationships/image" Target="../media/image15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5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156.png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7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Relationship Id="rId9" Type="http://schemas.microsoft.com/office/2018/10/relationships/comments" Target="../comments/modernComment_3D0_AD7B0CD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svg"/><Relationship Id="rId7" Type="http://schemas.openxmlformats.org/officeDocument/2006/relationships/image" Target="../media/image162.svg"/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1.png"/><Relationship Id="rId5" Type="http://schemas.openxmlformats.org/officeDocument/2006/relationships/image" Target="../media/image160.svg"/><Relationship Id="rId4" Type="http://schemas.openxmlformats.org/officeDocument/2006/relationships/image" Target="../media/image159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svg"/><Relationship Id="rId7" Type="http://schemas.openxmlformats.org/officeDocument/2006/relationships/image" Target="../media/image168.svg"/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7.png"/><Relationship Id="rId5" Type="http://schemas.openxmlformats.org/officeDocument/2006/relationships/image" Target="../media/image166.svg"/><Relationship Id="rId4" Type="http://schemas.openxmlformats.org/officeDocument/2006/relationships/image" Target="../media/image165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hyperlink" Target="mailto:info@ilpqc.org" TargetMode="Externa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171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7.svg"/><Relationship Id="rId3" Type="http://schemas.openxmlformats.org/officeDocument/2006/relationships/image" Target="../media/image172.png"/><Relationship Id="rId7" Type="http://schemas.openxmlformats.org/officeDocument/2006/relationships/image" Target="../media/image17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7.xml"/><Relationship Id="rId6" Type="http://schemas.openxmlformats.org/officeDocument/2006/relationships/image" Target="../media/image175.svg"/><Relationship Id="rId5" Type="http://schemas.openxmlformats.org/officeDocument/2006/relationships/image" Target="../media/image174.png"/><Relationship Id="rId4" Type="http://schemas.openxmlformats.org/officeDocument/2006/relationships/image" Target="../media/image173.jpe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3.png"/><Relationship Id="rId13" Type="http://schemas.openxmlformats.org/officeDocument/2006/relationships/image" Target="../media/image187.png"/><Relationship Id="rId3" Type="http://schemas.openxmlformats.org/officeDocument/2006/relationships/image" Target="../media/image178.jpeg"/><Relationship Id="rId7" Type="http://schemas.openxmlformats.org/officeDocument/2006/relationships/image" Target="../media/image182.png"/><Relationship Id="rId12" Type="http://schemas.openxmlformats.org/officeDocument/2006/relationships/image" Target="../media/image18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59.xml"/><Relationship Id="rId6" Type="http://schemas.openxmlformats.org/officeDocument/2006/relationships/image" Target="../media/image181.png"/><Relationship Id="rId11" Type="http://schemas.openxmlformats.org/officeDocument/2006/relationships/image" Target="../media/image185.png"/><Relationship Id="rId5" Type="http://schemas.openxmlformats.org/officeDocument/2006/relationships/image" Target="../media/image180.png"/><Relationship Id="rId10" Type="http://schemas.openxmlformats.org/officeDocument/2006/relationships/image" Target="../media/image184.png"/><Relationship Id="rId4" Type="http://schemas.openxmlformats.org/officeDocument/2006/relationships/image" Target="../media/image179.gif"/><Relationship Id="rId9" Type="http://schemas.microsoft.com/office/2007/relationships/hdphoto" Target="../media/hdphoto3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svg"/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97.svg"/><Relationship Id="rId5" Type="http://schemas.openxmlformats.org/officeDocument/2006/relationships/image" Target="../media/image96.png"/><Relationship Id="rId10" Type="http://schemas.openxmlformats.org/officeDocument/2006/relationships/image" Target="../media/image101.svg"/><Relationship Id="rId4" Type="http://schemas.openxmlformats.org/officeDocument/2006/relationships/image" Target="../media/image95.svg"/><Relationship Id="rId9" Type="http://schemas.openxmlformats.org/officeDocument/2006/relationships/image" Target="../media/image10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svg"/><Relationship Id="rId3" Type="http://schemas.openxmlformats.org/officeDocument/2006/relationships/image" Target="../media/image94.png"/><Relationship Id="rId7" Type="http://schemas.openxmlformats.org/officeDocument/2006/relationships/image" Target="../media/image10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99.svg"/><Relationship Id="rId5" Type="http://schemas.openxmlformats.org/officeDocument/2006/relationships/image" Target="../media/image98.png"/><Relationship Id="rId4" Type="http://schemas.openxmlformats.org/officeDocument/2006/relationships/image" Target="../media/image95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image" Target="../media/image103.svg"/><Relationship Id="rId7" Type="http://schemas.openxmlformats.org/officeDocument/2006/relationships/image" Target="../media/image107.sv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6.png"/><Relationship Id="rId5" Type="http://schemas.openxmlformats.org/officeDocument/2006/relationships/image" Target="../media/image105.svg"/><Relationship Id="rId4" Type="http://schemas.openxmlformats.org/officeDocument/2006/relationships/image" Target="../media/image104.png"/><Relationship Id="rId9" Type="http://schemas.openxmlformats.org/officeDocument/2006/relationships/image" Target="../media/image109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svg"/><Relationship Id="rId7" Type="http://schemas.openxmlformats.org/officeDocument/2006/relationships/image" Target="../media/image115.sv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4.png"/><Relationship Id="rId5" Type="http://schemas.openxmlformats.org/officeDocument/2006/relationships/image" Target="../media/image113.svg"/><Relationship Id="rId4" Type="http://schemas.openxmlformats.org/officeDocument/2006/relationships/image" Target="../media/image11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4" cy="2267013"/>
          </a:xfrm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PVB Monthly Webinar: </a:t>
            </a:r>
            <a:br>
              <a:rPr lang="en-US" dirty="0">
                <a:ea typeface="Lato Medium"/>
                <a:cs typeface="Lato Medium"/>
              </a:rPr>
            </a:br>
            <a:r>
              <a:rPr lang="en-US" sz="3200" b="0" dirty="0">
                <a:ea typeface="Lato Medium"/>
                <a:cs typeface="Lato Medium"/>
              </a:rPr>
              <a:t>Preparing for 2024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9922563-64D6-2A4E-B048-13AC25DB45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966184"/>
            <a:ext cx="5194433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+mn-lt"/>
                <a:cs typeface="+mn-lt"/>
              </a:rPr>
              <a:t>November 27th, 2023, at 12:30 PM</a:t>
            </a:r>
            <a:endParaRPr lang="en-US"/>
          </a:p>
        </p:txBody>
      </p:sp>
      <p:pic>
        <p:nvPicPr>
          <p:cNvPr id="6" name="Picture 6" descr="Pregnant woman holding stomach">
            <a:extLst>
              <a:ext uri="{FF2B5EF4-FFF2-40B4-BE49-F238E27FC236}">
                <a16:creationId xmlns:a16="http://schemas.microsoft.com/office/drawing/2014/main" id="{30C1A51F-9C76-7D94-57CD-AC4A39EF6029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97"/>
          <a:stretch/>
        </p:blipFill>
        <p:spPr>
          <a:xfrm>
            <a:off x="7683626" y="436922"/>
            <a:ext cx="4508374" cy="5279954"/>
          </a:xfrm>
        </p:spPr>
      </p:pic>
    </p:spTree>
    <p:extLst>
      <p:ext uri="{BB962C8B-B14F-4D97-AF65-F5344CB8AC3E}">
        <p14:creationId xmlns:p14="http://schemas.microsoft.com/office/powerpoint/2010/main" val="20082430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CF0391-13EA-EF62-55FA-0DAB5986C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Celebrating our PVB Success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694F21-7674-BC7F-E2E9-9ED14EAB194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857BF4-4492-C32F-211B-89AB1F00A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9" name="Content Placeholder 8" descr="A graph with a line and a pink line&#10;&#10;Description automatically generated">
            <a:extLst>
              <a:ext uri="{FF2B5EF4-FFF2-40B4-BE49-F238E27FC236}">
                <a16:creationId xmlns:a16="http://schemas.microsoft.com/office/drawing/2014/main" id="{C9D9CA5E-5C67-637D-D907-93FFB333E6A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922" y="2122676"/>
            <a:ext cx="6894121" cy="3963882"/>
          </a:xfrm>
        </p:spPr>
      </p:pic>
      <p:sp>
        <p:nvSpPr>
          <p:cNvPr id="12" name="Freeform 2">
            <a:extLst>
              <a:ext uri="{FF2B5EF4-FFF2-40B4-BE49-F238E27FC236}">
                <a16:creationId xmlns:a16="http://schemas.microsoft.com/office/drawing/2014/main" id="{E9274524-157C-9EF4-AAE1-30DF02D66003}"/>
              </a:ext>
            </a:extLst>
          </p:cNvPr>
          <p:cNvSpPr/>
          <p:nvPr/>
        </p:nvSpPr>
        <p:spPr>
          <a:xfrm>
            <a:off x="7319862" y="1245334"/>
            <a:ext cx="4876800" cy="932688"/>
          </a:xfrm>
          <a:custGeom>
            <a:avLst/>
            <a:gdLst/>
            <a:ahLst/>
            <a:cxnLst/>
            <a:rect l="l" t="t" r="r" b="b"/>
            <a:pathLst>
              <a:path w="7315200" h="1399032">
                <a:moveTo>
                  <a:pt x="0" y="0"/>
                </a:moveTo>
                <a:lnTo>
                  <a:pt x="7315200" y="0"/>
                </a:lnTo>
                <a:lnTo>
                  <a:pt x="7315200" y="1399032"/>
                </a:lnTo>
                <a:lnTo>
                  <a:pt x="0" y="1399032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14" name="Freeform 3">
            <a:extLst>
              <a:ext uri="{FF2B5EF4-FFF2-40B4-BE49-F238E27FC236}">
                <a16:creationId xmlns:a16="http://schemas.microsoft.com/office/drawing/2014/main" id="{B2C4B94C-EC0B-79E9-C0E1-B2B5EED2A93C}"/>
              </a:ext>
            </a:extLst>
          </p:cNvPr>
          <p:cNvSpPr/>
          <p:nvPr/>
        </p:nvSpPr>
        <p:spPr>
          <a:xfrm>
            <a:off x="7315200" y="4700758"/>
            <a:ext cx="4876800" cy="2151888"/>
          </a:xfrm>
          <a:custGeom>
            <a:avLst/>
            <a:gdLst/>
            <a:ahLst/>
            <a:cxnLst/>
            <a:rect l="l" t="t" r="r" b="b"/>
            <a:pathLst>
              <a:path w="7315200" h="3227832">
                <a:moveTo>
                  <a:pt x="0" y="0"/>
                </a:moveTo>
                <a:lnTo>
                  <a:pt x="7315200" y="0"/>
                </a:lnTo>
                <a:lnTo>
                  <a:pt x="7315200" y="3227832"/>
                </a:lnTo>
                <a:lnTo>
                  <a:pt x="0" y="3227832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16" name="TextBox 4">
            <a:extLst>
              <a:ext uri="{FF2B5EF4-FFF2-40B4-BE49-F238E27FC236}">
                <a16:creationId xmlns:a16="http://schemas.microsoft.com/office/drawing/2014/main" id="{7EBB2CA5-6C6C-393A-33B9-BA0BCDF6032C}"/>
              </a:ext>
            </a:extLst>
          </p:cNvPr>
          <p:cNvSpPr txBox="1"/>
          <p:nvPr/>
        </p:nvSpPr>
        <p:spPr>
          <a:xfrm>
            <a:off x="8362407" y="3954141"/>
            <a:ext cx="2998354" cy="74879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588"/>
              </a:lnSpc>
              <a:spcBef>
                <a:spcPct val="0"/>
              </a:spcBef>
            </a:pPr>
            <a:r>
              <a:rPr lang="en-US" sz="6200">
                <a:solidFill>
                  <a:srgbClr val="FF3399"/>
                </a:solidFill>
                <a:latin typeface="Hit and Run"/>
              </a:rPr>
              <a:t>23.38%</a:t>
            </a:r>
          </a:p>
        </p:txBody>
      </p:sp>
      <p:sp>
        <p:nvSpPr>
          <p:cNvPr id="18" name="TextBox 5">
            <a:extLst>
              <a:ext uri="{FF2B5EF4-FFF2-40B4-BE49-F238E27FC236}">
                <a16:creationId xmlns:a16="http://schemas.microsoft.com/office/drawing/2014/main" id="{AFC1FDFC-9B8E-46D3-977E-F282BADB7A6F}"/>
              </a:ext>
            </a:extLst>
          </p:cNvPr>
          <p:cNvSpPr txBox="1"/>
          <p:nvPr/>
        </p:nvSpPr>
        <p:spPr>
          <a:xfrm>
            <a:off x="7497335" y="2499613"/>
            <a:ext cx="4514371" cy="116769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667"/>
              </a:lnSpc>
            </a:pPr>
            <a:r>
              <a:rPr lang="en-US" sz="3300">
                <a:solidFill>
                  <a:schemeClr val="accent5"/>
                </a:solidFill>
                <a:latin typeface="Canva Sans Bold"/>
              </a:rPr>
              <a:t>ILPQC NTSV C-Section Rate in 2023</a:t>
            </a:r>
          </a:p>
        </p:txBody>
      </p:sp>
    </p:spTree>
    <p:extLst>
      <p:ext uri="{BB962C8B-B14F-4D97-AF65-F5344CB8AC3E}">
        <p14:creationId xmlns:p14="http://schemas.microsoft.com/office/powerpoint/2010/main" val="40210265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735AAD-A75B-0545-BD03-1EED9BCA5A90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sz="3400">
                <a:ea typeface="Lato Medium"/>
                <a:cs typeface="Calibri"/>
              </a:rPr>
              <a:t>NTSV C-Section Rates </a:t>
            </a:r>
            <a:br>
              <a:rPr lang="en-US" sz="3400">
                <a:cs typeface="Calibri"/>
              </a:rPr>
            </a:br>
            <a:r>
              <a:rPr lang="en-US" sz="3400">
                <a:ea typeface="Lato Medium"/>
                <a:cs typeface="Calibri"/>
              </a:rPr>
              <a:t>for all ILPQC Hospitals</a:t>
            </a:r>
            <a:endParaRPr lang="en-US">
              <a:ea typeface="Lato Medium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B0209F-4BEB-AE60-BE59-30DEB317D3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E453E5-AE9D-E8E1-0D0D-B6BF60B1AD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8" name="Picture 7" descr="A graph of a number of patients&#10;&#10;Description automatically generated">
            <a:extLst>
              <a:ext uri="{FF2B5EF4-FFF2-40B4-BE49-F238E27FC236}">
                <a16:creationId xmlns:a16="http://schemas.microsoft.com/office/drawing/2014/main" id="{190DA5A5-7999-B1F3-B452-E9C581BBE21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104" y="1777572"/>
            <a:ext cx="8141594" cy="4494152"/>
          </a:xfrm>
          <a:prstGeom prst="rect">
            <a:avLst/>
          </a:pr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250DDF7-278A-0258-A514-D5520C02C72A}"/>
              </a:ext>
            </a:extLst>
          </p:cNvPr>
          <p:cNvSpPr/>
          <p:nvPr/>
        </p:nvSpPr>
        <p:spPr>
          <a:xfrm>
            <a:off x="8967984" y="2267472"/>
            <a:ext cx="2998243" cy="3310584"/>
          </a:xfrm>
          <a:prstGeom prst="roundRect">
            <a:avLst/>
          </a:prstGeom>
          <a:solidFill>
            <a:srgbClr val="0070C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795568">
              <a:spcAft>
                <a:spcPts val="600"/>
              </a:spcAft>
            </a:pPr>
            <a:r>
              <a:rPr lang="en-US" sz="4000">
                <a:solidFill>
                  <a:srgbClr val="FFFFFF"/>
                </a:solidFill>
                <a:latin typeface="Calibri" panose="020F0502020204030204"/>
                <a:cs typeface="Calibri"/>
              </a:rPr>
              <a:t>78</a:t>
            </a:r>
            <a:r>
              <a:rPr lang="en-US" sz="4000" kern="1200">
                <a:solidFill>
                  <a:srgbClr val="FFFFFF"/>
                </a:solidFill>
                <a:latin typeface="Calibri" panose="020F0502020204030204"/>
                <a:ea typeface="+mn-ea"/>
                <a:cs typeface="Calibri"/>
              </a:rPr>
              <a:t>%</a:t>
            </a:r>
            <a:endParaRPr lang="en-US" sz="4000">
              <a:solidFill>
                <a:srgbClr val="FFFFFF"/>
              </a:solidFill>
              <a:latin typeface="Calibri" panose="020F0502020204030204"/>
              <a:cs typeface="Calibri"/>
            </a:endParaRPr>
          </a:p>
          <a:p>
            <a:pPr algn="ctr" defTabSz="795568">
              <a:spcAft>
                <a:spcPts val="600"/>
              </a:spcAft>
            </a:pPr>
            <a:r>
              <a:rPr lang="en-US" sz="2000" kern="1200">
                <a:solidFill>
                  <a:srgbClr val="FFFFFF"/>
                </a:solidFill>
                <a:latin typeface="Calibri" panose="020F0502020204030204"/>
                <a:ea typeface="+mn-ea"/>
                <a:cs typeface="Calibri"/>
              </a:rPr>
              <a:t>of Hospitals </a:t>
            </a:r>
            <a:r>
              <a:rPr lang="en-US" sz="2000">
                <a:solidFill>
                  <a:srgbClr val="FFFFFF"/>
                </a:solidFill>
                <a:latin typeface="Calibri" panose="020F0502020204030204"/>
                <a:cs typeface="Calibri"/>
              </a:rPr>
              <a:t>have reduced their NTSV C-Section Rates or maintained a C-Section rate below 23.6% from Baseline to 2023</a:t>
            </a:r>
            <a:endParaRPr lang="en-US" sz="2000" b="1" u="sng">
              <a:solidFill>
                <a:srgbClr val="FFFFFF"/>
              </a:solidFill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FA896E3-1ADA-8D12-9179-0B4A795BDC25}"/>
              </a:ext>
            </a:extLst>
          </p:cNvPr>
          <p:cNvSpPr/>
          <p:nvPr/>
        </p:nvSpPr>
        <p:spPr>
          <a:xfrm>
            <a:off x="1608418" y="3299891"/>
            <a:ext cx="3006449" cy="953506"/>
          </a:xfrm>
          <a:prstGeom prst="roundRect">
            <a:avLst/>
          </a:prstGeom>
          <a:solidFill>
            <a:srgbClr val="FF339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795568">
              <a:spcAft>
                <a:spcPts val="600"/>
              </a:spcAft>
            </a:pPr>
            <a:r>
              <a:rPr lang="en-US" kern="1200">
                <a:solidFill>
                  <a:srgbClr val="FFFFFF"/>
                </a:solidFill>
                <a:latin typeface="Calibri" panose="020F0502020204030204"/>
                <a:ea typeface="+mn-ea"/>
                <a:cs typeface="Calibri"/>
              </a:rPr>
              <a:t>47%</a:t>
            </a:r>
            <a:r>
              <a:rPr lang="en-US">
                <a:solidFill>
                  <a:srgbClr val="FFFFFF"/>
                </a:solidFill>
                <a:latin typeface="Calibri" panose="020F0502020204030204"/>
                <a:cs typeface="Calibri"/>
              </a:rPr>
              <a:t> </a:t>
            </a:r>
            <a:r>
              <a:rPr lang="en-US" kern="1200">
                <a:solidFill>
                  <a:srgbClr val="FFFFFF"/>
                </a:solidFill>
                <a:latin typeface="Calibri" panose="020F0502020204030204"/>
                <a:ea typeface="+mn-ea"/>
                <a:cs typeface="Calibri"/>
              </a:rPr>
              <a:t>of Hospitals achieving the NTSV C-Section Rate goal of 23.6% in </a:t>
            </a:r>
            <a:r>
              <a:rPr lang="en-US" b="1" u="sng" kern="1200">
                <a:solidFill>
                  <a:srgbClr val="FFFFFF"/>
                </a:solidFill>
                <a:latin typeface="Calibri" panose="020F0502020204030204"/>
                <a:ea typeface="+mn-ea"/>
                <a:cs typeface="Calibri"/>
              </a:rPr>
              <a:t>2023</a:t>
            </a:r>
            <a:endParaRPr lang="en-US" b="1" u="sng">
              <a:solidFill>
                <a:srgbClr val="FFFFFF"/>
              </a:solidFill>
              <a:latin typeface="Calibri" panose="020F0502020204030204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561901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A1F69E-3D38-7899-D85E-D830B7C0E3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NTSV C-Sections Meeting </a:t>
            </a:r>
            <a:br>
              <a:rPr lang="en-US">
                <a:ea typeface="Lato Medium"/>
                <a:cs typeface="Lato Medium"/>
              </a:rPr>
            </a:br>
            <a:r>
              <a:rPr lang="en-US">
                <a:ea typeface="Lato Medium"/>
                <a:cs typeface="Lato Medium"/>
              </a:rPr>
              <a:t>ACOG/SMFM Criteria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CA3319-C7DB-8ECE-3264-09071839D3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446"/>
            <a:fld id="{97033E4B-E3EB-3D46-B2D8-3159663620FA}" type="slidenum">
              <a:rPr lang="en-US" dirty="0">
                <a:solidFill>
                  <a:srgbClr val="79818A">
                    <a:lumMod val="60000"/>
                    <a:lumOff val="40000"/>
                  </a:srgbClr>
                </a:solidFill>
                <a:latin typeface="Calibri" panose="020F0502020204030204"/>
              </a:rPr>
              <a:pPr defTabSz="914446"/>
              <a:t>12</a:t>
            </a:fld>
            <a:endParaRPr lang="en-US">
              <a:solidFill>
                <a:srgbClr val="79818A">
                  <a:lumMod val="60000"/>
                  <a:lumOff val="40000"/>
                </a:srgbClr>
              </a:solidFill>
              <a:latin typeface="Calibri" panose="020F0502020204030204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9CD626-DDA4-8A86-289B-D39F18715F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46"/>
            <a:r>
              <a:rPr lang="en-US">
                <a:solidFill>
                  <a:srgbClr val="444C55">
                    <a:tint val="75000"/>
                  </a:srgbClr>
                </a:solidFill>
                <a:latin typeface="Calibri" panose="020F0502020204030204"/>
              </a:rPr>
              <a:t>Illinois Perinatal Quality Collaborative</a:t>
            </a:r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1E1F3547-5722-0D89-3393-F06FF86BDD4E}"/>
              </a:ext>
            </a:extLst>
          </p:cNvPr>
          <p:cNvSpPr txBox="1"/>
          <p:nvPr/>
        </p:nvSpPr>
        <p:spPr>
          <a:xfrm>
            <a:off x="8753472" y="2971745"/>
            <a:ext cx="3158439" cy="12311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4848"/>
              </a:lnSpc>
              <a:spcBef>
                <a:spcPct val="0"/>
              </a:spcBef>
            </a:pPr>
            <a:r>
              <a:rPr lang="en-US" sz="4000">
                <a:solidFill>
                  <a:srgbClr val="1C498B"/>
                </a:solidFill>
                <a:latin typeface="Calibri"/>
                <a:ea typeface="Calibri"/>
                <a:cs typeface="Calibri"/>
              </a:rPr>
              <a:t>GOAL ACHIEVED</a:t>
            </a:r>
            <a:r>
              <a:rPr lang="en-US" sz="4000">
                <a:solidFill>
                  <a:srgbClr val="1C498B"/>
                </a:solidFill>
                <a:latin typeface="Neue Einstellung Bold"/>
              </a:rPr>
              <a:t>!</a:t>
            </a:r>
          </a:p>
        </p:txBody>
      </p:sp>
      <p:sp>
        <p:nvSpPr>
          <p:cNvPr id="9" name="Freeform 3">
            <a:extLst>
              <a:ext uri="{FF2B5EF4-FFF2-40B4-BE49-F238E27FC236}">
                <a16:creationId xmlns:a16="http://schemas.microsoft.com/office/drawing/2014/main" id="{11391E75-A41C-5E06-09F7-82EF265B32B4}"/>
              </a:ext>
            </a:extLst>
          </p:cNvPr>
          <p:cNvSpPr/>
          <p:nvPr/>
        </p:nvSpPr>
        <p:spPr>
          <a:xfrm rot="2580000">
            <a:off x="10458566" y="2006488"/>
            <a:ext cx="1883688" cy="1341794"/>
          </a:xfrm>
          <a:custGeom>
            <a:avLst/>
            <a:gdLst/>
            <a:ahLst/>
            <a:cxnLst/>
            <a:rect l="l" t="t" r="r" b="b"/>
            <a:pathLst>
              <a:path w="3131404" h="2270268">
                <a:moveTo>
                  <a:pt x="0" y="0"/>
                </a:moveTo>
                <a:lnTo>
                  <a:pt x="3131404" y="0"/>
                </a:lnTo>
                <a:lnTo>
                  <a:pt x="3131404" y="2270267"/>
                </a:lnTo>
                <a:lnTo>
                  <a:pt x="0" y="2270267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11" name="Freeform 2">
            <a:extLst>
              <a:ext uri="{FF2B5EF4-FFF2-40B4-BE49-F238E27FC236}">
                <a16:creationId xmlns:a16="http://schemas.microsoft.com/office/drawing/2014/main" id="{6EDED0B4-7064-819B-4E46-E2E859A9C9A9}"/>
              </a:ext>
            </a:extLst>
          </p:cNvPr>
          <p:cNvSpPr/>
          <p:nvPr/>
        </p:nvSpPr>
        <p:spPr>
          <a:xfrm rot="19680000">
            <a:off x="8307678" y="2113208"/>
            <a:ext cx="1664319" cy="1127748"/>
          </a:xfrm>
          <a:custGeom>
            <a:avLst/>
            <a:gdLst/>
            <a:ahLst/>
            <a:cxnLst/>
            <a:rect l="l" t="t" r="r" b="b"/>
            <a:pathLst>
              <a:path w="3043829" h="2206776">
                <a:moveTo>
                  <a:pt x="0" y="0"/>
                </a:moveTo>
                <a:lnTo>
                  <a:pt x="3043830" y="0"/>
                </a:lnTo>
                <a:lnTo>
                  <a:pt x="3043830" y="2206776"/>
                </a:lnTo>
                <a:lnTo>
                  <a:pt x="0" y="2206776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9AB5189-86E8-95FF-A586-56D6127D8645}"/>
              </a:ext>
            </a:extLst>
          </p:cNvPr>
          <p:cNvSpPr/>
          <p:nvPr/>
        </p:nvSpPr>
        <p:spPr>
          <a:xfrm>
            <a:off x="8631418" y="4210296"/>
            <a:ext cx="3155324" cy="2146478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/>
            <a:r>
              <a:rPr lang="en-US" sz="4400">
                <a:solidFill>
                  <a:srgbClr val="FFFFFF"/>
                </a:solidFill>
                <a:latin typeface="Calibri" panose="020F0502020204030204"/>
                <a:ea typeface="Calibri"/>
                <a:cs typeface="Calibri"/>
              </a:rPr>
              <a:t>71% </a:t>
            </a:r>
            <a:endParaRPr lang="en-US" sz="2800">
              <a:solidFill>
                <a:srgbClr val="FFFFFF"/>
              </a:solidFill>
              <a:latin typeface="Calibri" panose="020F0502020204030204"/>
              <a:ea typeface="Calibri"/>
              <a:cs typeface="Calibri"/>
            </a:endParaRPr>
          </a:p>
          <a:p>
            <a:pPr algn="ctr" defTabSz="914446"/>
            <a:r>
              <a:rPr lang="en-US" sz="2400">
                <a:solidFill>
                  <a:srgbClr val="FFFFFF"/>
                </a:solidFill>
                <a:latin typeface="Calibri" panose="020F0502020204030204"/>
                <a:ea typeface="Calibri"/>
                <a:cs typeface="Calibri"/>
              </a:rPr>
              <a:t>of NTSV C-Sections Meeting ACOG/SMFM Criteria!</a:t>
            </a:r>
          </a:p>
        </p:txBody>
      </p:sp>
      <p:pic>
        <p:nvPicPr>
          <p:cNvPr id="6" name="Picture 5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C37A0605-052F-F64B-7C71-54BF26E75565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661" y="1755693"/>
            <a:ext cx="7712764" cy="466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4885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C5CF8-4CAF-EF22-8C56-7170CAEEEE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14605"/>
            <a:ext cx="10972800" cy="1325563"/>
          </a:xfrm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Provider and Nurse Education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598AF9-5CDD-ADA6-66A3-F3149FD7968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446"/>
            <a:fld id="{97033E4B-E3EB-3D46-B2D8-3159663620FA}" type="slidenum">
              <a:rPr lang="en-US">
                <a:solidFill>
                  <a:srgbClr val="79818A">
                    <a:lumMod val="60000"/>
                    <a:lumOff val="40000"/>
                  </a:srgbClr>
                </a:solidFill>
                <a:latin typeface="Calibri" panose="020F0502020204030204"/>
              </a:rPr>
              <a:pPr defTabSz="914446"/>
              <a:t>13</a:t>
            </a:fld>
            <a:endParaRPr lang="en-US">
              <a:solidFill>
                <a:srgbClr val="79818A">
                  <a:lumMod val="60000"/>
                  <a:lumOff val="40000"/>
                </a:srgbClr>
              </a:solidFill>
              <a:latin typeface="Calibri" panose="020F0502020204030204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7A2EC2-032C-64C1-9274-B4C19B8955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46"/>
            <a:r>
              <a:rPr lang="en-US">
                <a:solidFill>
                  <a:srgbClr val="444C55">
                    <a:tint val="75000"/>
                  </a:srgbClr>
                </a:solidFill>
                <a:latin typeface="Calibri" panose="020F0502020204030204"/>
              </a:rPr>
              <a:t>Illinois Perinatal Quality Collaborative</a:t>
            </a:r>
          </a:p>
        </p:txBody>
      </p:sp>
      <p:sp>
        <p:nvSpPr>
          <p:cNvPr id="9" name="Google Shape;3942;p421">
            <a:extLst>
              <a:ext uri="{FF2B5EF4-FFF2-40B4-BE49-F238E27FC236}">
                <a16:creationId xmlns:a16="http://schemas.microsoft.com/office/drawing/2014/main" id="{DD613A39-963E-A91B-6E07-33A571A62F8D}"/>
              </a:ext>
            </a:extLst>
          </p:cNvPr>
          <p:cNvSpPr/>
          <p:nvPr/>
        </p:nvSpPr>
        <p:spPr>
          <a:xfrm>
            <a:off x="2762552" y="3262874"/>
            <a:ext cx="6475298" cy="2886323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46"/>
            <a:r>
              <a:rPr lang="en-US" sz="2400">
                <a:solidFill>
                  <a:srgbClr val="1C498B"/>
                </a:solidFill>
                <a:latin typeface="Calibri"/>
                <a:ea typeface="Calibri"/>
                <a:cs typeface="Calibri"/>
                <a:sym typeface="Calibri"/>
              </a:rPr>
              <a:t>Baseline                       August 2023</a:t>
            </a:r>
            <a:endParaRPr lang="en-US" sz="1800">
              <a:solidFill>
                <a:srgbClr val="1C498B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ctr" defTabSz="914446"/>
            <a:r>
              <a:rPr lang="en-US" sz="8000" b="1">
                <a:solidFill>
                  <a:srgbClr val="FBC0D1"/>
                </a:solidFill>
                <a:latin typeface="Calibri"/>
                <a:ea typeface="Calibri"/>
                <a:cs typeface="Calibri"/>
                <a:sym typeface="Calibri"/>
              </a:rPr>
              <a:t>10</a:t>
            </a:r>
            <a:r>
              <a:rPr lang="en-US" sz="5400" b="1">
                <a:solidFill>
                  <a:srgbClr val="FBC0D1"/>
                </a:solidFill>
                <a:latin typeface="Calibri"/>
                <a:ea typeface="Calibri"/>
                <a:cs typeface="Calibri"/>
                <a:sym typeface="Calibri"/>
              </a:rPr>
              <a:t>%        </a:t>
            </a:r>
            <a:r>
              <a:rPr lang="en-US" sz="8000" b="1">
                <a:solidFill>
                  <a:srgbClr val="FBC0D1"/>
                </a:solidFill>
                <a:latin typeface="Calibri"/>
                <a:ea typeface="Calibri"/>
                <a:cs typeface="Calibri"/>
                <a:sym typeface="Calibri"/>
              </a:rPr>
              <a:t>89%</a:t>
            </a:r>
            <a:endParaRPr lang="en-US" sz="3600">
              <a:solidFill>
                <a:srgbClr val="1C498B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ctr" defTabSz="914446"/>
            <a:r>
              <a:rPr lang="en-US" sz="3600">
                <a:solidFill>
                  <a:srgbClr val="1C498B"/>
                </a:solidFill>
                <a:latin typeface="Calibri"/>
                <a:ea typeface="Calibri"/>
                <a:cs typeface="Calibri"/>
                <a:sym typeface="Calibri"/>
              </a:rPr>
              <a:t>Of providers and nurses educated on ACOG/SMFM Criteria</a:t>
            </a:r>
            <a:endParaRPr lang="en-US" sz="3600">
              <a:solidFill>
                <a:srgbClr val="1C498B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13" name="Google Shape;3945;p421">
            <a:extLst>
              <a:ext uri="{FF2B5EF4-FFF2-40B4-BE49-F238E27FC236}">
                <a16:creationId xmlns:a16="http://schemas.microsoft.com/office/drawing/2014/main" id="{A0ECF9DB-BA67-BB3F-5396-31FCC5FA0D6E}"/>
              </a:ext>
            </a:extLst>
          </p:cNvPr>
          <p:cNvSpPr/>
          <p:nvPr/>
        </p:nvSpPr>
        <p:spPr>
          <a:xfrm>
            <a:off x="5398660" y="3916930"/>
            <a:ext cx="1004445" cy="855775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2"/>
          </a:solidFill>
          <a:ln w="12700" cap="flat" cmpd="sng">
            <a:solidFill>
              <a:srgbClr val="FBC0D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46"/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" name="Picture 13" descr="A group of women in scrubs posing for a picture&#10;&#10;Description automatically generated">
            <a:extLst>
              <a:ext uri="{FF2B5EF4-FFF2-40B4-BE49-F238E27FC236}">
                <a16:creationId xmlns:a16="http://schemas.microsoft.com/office/drawing/2014/main" id="{65D06E5C-0ED6-A6EF-742B-D692237775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46025" y="1443711"/>
            <a:ext cx="2833217" cy="212461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5" name="Picture 14" descr="A picture containing person, posing, group, standing&#10;&#10;Description automatically generated">
            <a:extLst>
              <a:ext uri="{FF2B5EF4-FFF2-40B4-BE49-F238E27FC236}">
                <a16:creationId xmlns:a16="http://schemas.microsoft.com/office/drawing/2014/main" id="{D9ABD8D5-3235-1B29-15F2-20CB7E082B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9536" y="1381865"/>
            <a:ext cx="2286000" cy="199072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6" name="Picture 15" descr="A group of people wearing scrubs and face masks&#10;&#10;Description automatically generated">
            <a:extLst>
              <a:ext uri="{FF2B5EF4-FFF2-40B4-BE49-F238E27FC236}">
                <a16:creationId xmlns:a16="http://schemas.microsoft.com/office/drawing/2014/main" id="{E2C430D4-B345-4241-451A-01AEE1B6C9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76167" y="4343802"/>
            <a:ext cx="2362200" cy="17335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7" name="Picture 16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7F8F247A-7F9E-C1CF-2DD2-173F3987E5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0083" y="4195964"/>
            <a:ext cx="2371725" cy="17716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9" name="Freeform 2">
            <a:extLst>
              <a:ext uri="{FF2B5EF4-FFF2-40B4-BE49-F238E27FC236}">
                <a16:creationId xmlns:a16="http://schemas.microsoft.com/office/drawing/2014/main" id="{E6E39EC3-8704-D9DF-44A6-76720AD8482F}"/>
              </a:ext>
            </a:extLst>
          </p:cNvPr>
          <p:cNvSpPr/>
          <p:nvPr/>
        </p:nvSpPr>
        <p:spPr>
          <a:xfrm rot="19680000">
            <a:off x="2973972" y="1617019"/>
            <a:ext cx="1664319" cy="1127748"/>
          </a:xfrm>
          <a:custGeom>
            <a:avLst/>
            <a:gdLst/>
            <a:ahLst/>
            <a:cxnLst/>
            <a:rect l="l" t="t" r="r" b="b"/>
            <a:pathLst>
              <a:path w="3043829" h="2206776">
                <a:moveTo>
                  <a:pt x="0" y="0"/>
                </a:moveTo>
                <a:lnTo>
                  <a:pt x="3043830" y="0"/>
                </a:lnTo>
                <a:lnTo>
                  <a:pt x="3043830" y="2206776"/>
                </a:lnTo>
                <a:lnTo>
                  <a:pt x="0" y="2206776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21" name="TextBox 4">
            <a:extLst>
              <a:ext uri="{FF2B5EF4-FFF2-40B4-BE49-F238E27FC236}">
                <a16:creationId xmlns:a16="http://schemas.microsoft.com/office/drawing/2014/main" id="{3C9A88D1-F58E-BBFC-6CE6-9F67229E91F7}"/>
              </a:ext>
            </a:extLst>
          </p:cNvPr>
          <p:cNvSpPr txBox="1"/>
          <p:nvPr/>
        </p:nvSpPr>
        <p:spPr>
          <a:xfrm>
            <a:off x="4160008" y="1608731"/>
            <a:ext cx="3158439" cy="12311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4848"/>
              </a:lnSpc>
              <a:spcBef>
                <a:spcPct val="0"/>
              </a:spcBef>
            </a:pPr>
            <a:r>
              <a:rPr lang="en-US" sz="4000">
                <a:solidFill>
                  <a:srgbClr val="1C498B"/>
                </a:solidFill>
                <a:latin typeface="Calibri"/>
                <a:ea typeface="Calibri"/>
                <a:cs typeface="Calibri"/>
              </a:rPr>
              <a:t>GOAL ACHIEVED</a:t>
            </a:r>
            <a:r>
              <a:rPr lang="en-US" sz="4000">
                <a:solidFill>
                  <a:srgbClr val="1C498B"/>
                </a:solidFill>
                <a:latin typeface="Neue Einstellung Bold"/>
              </a:rPr>
              <a:t>!</a:t>
            </a:r>
          </a:p>
        </p:txBody>
      </p:sp>
      <p:sp>
        <p:nvSpPr>
          <p:cNvPr id="23" name="Freeform 3">
            <a:extLst>
              <a:ext uri="{FF2B5EF4-FFF2-40B4-BE49-F238E27FC236}">
                <a16:creationId xmlns:a16="http://schemas.microsoft.com/office/drawing/2014/main" id="{1AB2236C-D099-9CFC-5E6F-1C04524A4272}"/>
              </a:ext>
            </a:extLst>
          </p:cNvPr>
          <p:cNvSpPr/>
          <p:nvPr/>
        </p:nvSpPr>
        <p:spPr>
          <a:xfrm rot="2580000">
            <a:off x="6981711" y="1492362"/>
            <a:ext cx="1883688" cy="1341794"/>
          </a:xfrm>
          <a:custGeom>
            <a:avLst/>
            <a:gdLst/>
            <a:ahLst/>
            <a:cxnLst/>
            <a:rect l="l" t="t" r="r" b="b"/>
            <a:pathLst>
              <a:path w="3131404" h="2270268">
                <a:moveTo>
                  <a:pt x="0" y="0"/>
                </a:moveTo>
                <a:lnTo>
                  <a:pt x="3131404" y="0"/>
                </a:lnTo>
                <a:lnTo>
                  <a:pt x="3131404" y="2270267"/>
                </a:lnTo>
                <a:lnTo>
                  <a:pt x="0" y="2270267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25442752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FB12D0D-DDC5-F467-D6BB-BB82342EA40B}"/>
              </a:ext>
            </a:extLst>
          </p:cNvPr>
          <p:cNvSpPr/>
          <p:nvPr/>
        </p:nvSpPr>
        <p:spPr>
          <a:xfrm>
            <a:off x="6891838" y="-22559"/>
            <a:ext cx="5303921" cy="16443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8DD7B3-70FF-5046-293A-C2F3B82522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46"/>
            <a:r>
              <a:rPr lang="en-US">
                <a:solidFill>
                  <a:srgbClr val="444C55">
                    <a:tint val="75000"/>
                  </a:srgbClr>
                </a:solidFill>
                <a:latin typeface="Calibri" panose="020F0502020204030204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A102FD-5F32-B852-9969-06BFE5AA0E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46"/>
            <a:fld id="{97033E4B-E3EB-3D46-B2D8-3159663620FA}" type="slidenum">
              <a:rPr lang="en-US" dirty="0">
                <a:solidFill>
                  <a:srgbClr val="79818A">
                    <a:lumMod val="60000"/>
                    <a:lumOff val="40000"/>
                  </a:srgbClr>
                </a:solidFill>
                <a:latin typeface="Calibri" panose="020F0502020204030204"/>
              </a:rPr>
              <a:pPr defTabSz="914446"/>
              <a:t>14</a:t>
            </a:fld>
            <a:endParaRPr lang="en-US">
              <a:solidFill>
                <a:srgbClr val="79818A">
                  <a:lumMod val="60000"/>
                  <a:lumOff val="40000"/>
                </a:srgbClr>
              </a:solidFill>
              <a:latin typeface="Calibri" panose="020F05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87CFE8-3919-ED15-8CAA-3861B7D5540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214034" y="166688"/>
            <a:ext cx="4822825" cy="1347787"/>
          </a:xfrm>
        </p:spPr>
        <p:txBody>
          <a:bodyPr>
            <a:noAutofit/>
          </a:bodyPr>
          <a:lstStyle/>
          <a:p>
            <a:r>
              <a:rPr lang="en-US" sz="3600" b="1">
                <a:solidFill>
                  <a:schemeClr val="tx2"/>
                </a:solidFill>
                <a:ea typeface="Lato Medium"/>
                <a:cs typeface="Lato Medium"/>
              </a:rPr>
              <a:t>Reducing Disparities in NTSV C-Section Rates </a:t>
            </a:r>
            <a:endParaRPr lang="en-US" sz="4000" b="1">
              <a:solidFill>
                <a:schemeClr val="tx2"/>
              </a:solidFill>
              <a:cs typeface="Calibri"/>
            </a:endParaRPr>
          </a:p>
        </p:txBody>
      </p:sp>
      <p:grpSp>
        <p:nvGrpSpPr>
          <p:cNvPr id="32" name="Group 2">
            <a:extLst>
              <a:ext uri="{FF2B5EF4-FFF2-40B4-BE49-F238E27FC236}">
                <a16:creationId xmlns:a16="http://schemas.microsoft.com/office/drawing/2014/main" id="{5E7AE726-8310-51C2-FB66-C58507CAAA8E}"/>
              </a:ext>
            </a:extLst>
          </p:cNvPr>
          <p:cNvGrpSpPr/>
          <p:nvPr/>
        </p:nvGrpSpPr>
        <p:grpSpPr>
          <a:xfrm>
            <a:off x="7066125" y="4315171"/>
            <a:ext cx="1001973" cy="1165933"/>
            <a:chOff x="0" y="0"/>
            <a:chExt cx="698500" cy="812800"/>
          </a:xfrm>
        </p:grpSpPr>
        <p:sp>
          <p:nvSpPr>
            <p:cNvPr id="29" name="Freeform 3">
              <a:extLst>
                <a:ext uri="{FF2B5EF4-FFF2-40B4-BE49-F238E27FC236}">
                  <a16:creationId xmlns:a16="http://schemas.microsoft.com/office/drawing/2014/main" id="{7BA9669B-9196-4488-D269-918392C966E6}"/>
                </a:ext>
              </a:extLst>
            </p:cNvPr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132572"/>
            </a:solidFill>
          </p:spPr>
        </p:sp>
        <p:sp>
          <p:nvSpPr>
            <p:cNvPr id="31" name="TextBox 4">
              <a:extLst>
                <a:ext uri="{FF2B5EF4-FFF2-40B4-BE49-F238E27FC236}">
                  <a16:creationId xmlns:a16="http://schemas.microsoft.com/office/drawing/2014/main" id="{A0B9FA95-7723-4BA2-4E95-CC52411DB78D}"/>
                </a:ext>
              </a:extLst>
            </p:cNvPr>
            <p:cNvSpPr txBox="1"/>
            <p:nvPr/>
          </p:nvSpPr>
          <p:spPr>
            <a:xfrm>
              <a:off x="0" y="82550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239"/>
                </a:lnSpc>
              </a:pPr>
              <a:endParaRPr sz="800"/>
            </a:p>
          </p:txBody>
        </p:sp>
      </p:grpSp>
      <p:grpSp>
        <p:nvGrpSpPr>
          <p:cNvPr id="36" name="Group 5">
            <a:extLst>
              <a:ext uri="{FF2B5EF4-FFF2-40B4-BE49-F238E27FC236}">
                <a16:creationId xmlns:a16="http://schemas.microsoft.com/office/drawing/2014/main" id="{B6918222-6E8B-4A63-B897-C6D0120E3E96}"/>
              </a:ext>
            </a:extLst>
          </p:cNvPr>
          <p:cNvGrpSpPr/>
          <p:nvPr/>
        </p:nvGrpSpPr>
        <p:grpSpPr>
          <a:xfrm>
            <a:off x="7621835" y="3313459"/>
            <a:ext cx="1001973" cy="1165933"/>
            <a:chOff x="0" y="0"/>
            <a:chExt cx="698500" cy="812800"/>
          </a:xfrm>
        </p:grpSpPr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AFDD0385-869D-C585-E9D3-1B749F92BD7B}"/>
                </a:ext>
              </a:extLst>
            </p:cNvPr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819FEB"/>
            </a:solidFill>
          </p:spPr>
        </p:sp>
        <p:sp>
          <p:nvSpPr>
            <p:cNvPr id="35" name="TextBox 7">
              <a:extLst>
                <a:ext uri="{FF2B5EF4-FFF2-40B4-BE49-F238E27FC236}">
                  <a16:creationId xmlns:a16="http://schemas.microsoft.com/office/drawing/2014/main" id="{E295F3D6-C5FF-5108-B504-53D3581DF858}"/>
                </a:ext>
              </a:extLst>
            </p:cNvPr>
            <p:cNvSpPr txBox="1"/>
            <p:nvPr/>
          </p:nvSpPr>
          <p:spPr>
            <a:xfrm>
              <a:off x="0" y="82550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239"/>
                </a:lnSpc>
              </a:pPr>
              <a:endParaRPr sz="800"/>
            </a:p>
          </p:txBody>
        </p:sp>
      </p:grpSp>
      <p:grpSp>
        <p:nvGrpSpPr>
          <p:cNvPr id="40" name="Group 8">
            <a:extLst>
              <a:ext uri="{FF2B5EF4-FFF2-40B4-BE49-F238E27FC236}">
                <a16:creationId xmlns:a16="http://schemas.microsoft.com/office/drawing/2014/main" id="{52A5C6DD-F4DF-D5DE-F644-5EF5637D3C83}"/>
              </a:ext>
            </a:extLst>
          </p:cNvPr>
          <p:cNvGrpSpPr/>
          <p:nvPr/>
        </p:nvGrpSpPr>
        <p:grpSpPr>
          <a:xfrm>
            <a:off x="7066125" y="2311746"/>
            <a:ext cx="1001973" cy="1165933"/>
            <a:chOff x="0" y="0"/>
            <a:chExt cx="698500" cy="812800"/>
          </a:xfrm>
        </p:grpSpPr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F62565BE-42D4-73A0-BB33-4B0057D407D6}"/>
                </a:ext>
              </a:extLst>
            </p:cNvPr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FC7ECF"/>
            </a:solidFill>
          </p:spPr>
        </p:sp>
        <p:sp>
          <p:nvSpPr>
            <p:cNvPr id="39" name="TextBox 10">
              <a:extLst>
                <a:ext uri="{FF2B5EF4-FFF2-40B4-BE49-F238E27FC236}">
                  <a16:creationId xmlns:a16="http://schemas.microsoft.com/office/drawing/2014/main" id="{4098DC29-B860-98A6-4D38-325F664E8BF5}"/>
                </a:ext>
              </a:extLst>
            </p:cNvPr>
            <p:cNvSpPr txBox="1"/>
            <p:nvPr/>
          </p:nvSpPr>
          <p:spPr>
            <a:xfrm>
              <a:off x="0" y="82550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239"/>
                </a:lnSpc>
              </a:pPr>
              <a:endParaRPr sz="800"/>
            </a:p>
          </p:txBody>
        </p:sp>
      </p:grpSp>
      <p:grpSp>
        <p:nvGrpSpPr>
          <p:cNvPr id="44" name="Group 11">
            <a:extLst>
              <a:ext uri="{FF2B5EF4-FFF2-40B4-BE49-F238E27FC236}">
                <a16:creationId xmlns:a16="http://schemas.microsoft.com/office/drawing/2014/main" id="{FCC12E98-EE1A-E14B-2C80-5F0DC893EC10}"/>
              </a:ext>
            </a:extLst>
          </p:cNvPr>
          <p:cNvGrpSpPr/>
          <p:nvPr/>
        </p:nvGrpSpPr>
        <p:grpSpPr>
          <a:xfrm>
            <a:off x="7621835" y="1310034"/>
            <a:ext cx="1001973" cy="1165933"/>
            <a:chOff x="0" y="0"/>
            <a:chExt cx="698500" cy="812800"/>
          </a:xfrm>
        </p:grpSpPr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id="{3FAE28D9-F148-FBFF-56FE-483F47826645}"/>
                </a:ext>
              </a:extLst>
            </p:cNvPr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FBDE4D"/>
            </a:solidFill>
          </p:spPr>
        </p:sp>
        <p:sp>
          <p:nvSpPr>
            <p:cNvPr id="43" name="TextBox 13">
              <a:extLst>
                <a:ext uri="{FF2B5EF4-FFF2-40B4-BE49-F238E27FC236}">
                  <a16:creationId xmlns:a16="http://schemas.microsoft.com/office/drawing/2014/main" id="{54B5F311-F560-34E0-9F2B-FCD9E2320CC5}"/>
                </a:ext>
              </a:extLst>
            </p:cNvPr>
            <p:cNvSpPr txBox="1"/>
            <p:nvPr/>
          </p:nvSpPr>
          <p:spPr>
            <a:xfrm>
              <a:off x="0" y="82550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239"/>
                </a:lnSpc>
              </a:pPr>
              <a:endParaRPr sz="800"/>
            </a:p>
          </p:txBody>
        </p:sp>
      </p:grpSp>
      <p:grpSp>
        <p:nvGrpSpPr>
          <p:cNvPr id="48" name="Group 14">
            <a:extLst>
              <a:ext uri="{FF2B5EF4-FFF2-40B4-BE49-F238E27FC236}">
                <a16:creationId xmlns:a16="http://schemas.microsoft.com/office/drawing/2014/main" id="{44360E08-854D-F841-5ACB-48C8D188D57D}"/>
              </a:ext>
            </a:extLst>
          </p:cNvPr>
          <p:cNvGrpSpPr/>
          <p:nvPr/>
        </p:nvGrpSpPr>
        <p:grpSpPr>
          <a:xfrm>
            <a:off x="7066125" y="308322"/>
            <a:ext cx="1001973" cy="1165933"/>
            <a:chOff x="0" y="0"/>
            <a:chExt cx="698500" cy="812800"/>
          </a:xfrm>
        </p:grpSpPr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33702F1A-97BC-AA18-8DBD-2992AA98AF15}"/>
                </a:ext>
              </a:extLst>
            </p:cNvPr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E8945E"/>
            </a:solidFill>
          </p:spPr>
        </p:sp>
        <p:sp>
          <p:nvSpPr>
            <p:cNvPr id="47" name="TextBox 16">
              <a:extLst>
                <a:ext uri="{FF2B5EF4-FFF2-40B4-BE49-F238E27FC236}">
                  <a16:creationId xmlns:a16="http://schemas.microsoft.com/office/drawing/2014/main" id="{3B19C38A-AE0D-8AB9-2E3E-78E4083BB43E}"/>
                </a:ext>
              </a:extLst>
            </p:cNvPr>
            <p:cNvSpPr txBox="1"/>
            <p:nvPr/>
          </p:nvSpPr>
          <p:spPr>
            <a:xfrm>
              <a:off x="0" y="82550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239"/>
                </a:lnSpc>
              </a:pPr>
              <a:endParaRPr sz="800"/>
            </a:p>
          </p:txBody>
        </p:sp>
      </p:grpSp>
      <p:sp>
        <p:nvSpPr>
          <p:cNvPr id="50" name="Freeform 18">
            <a:extLst>
              <a:ext uri="{FF2B5EF4-FFF2-40B4-BE49-F238E27FC236}">
                <a16:creationId xmlns:a16="http://schemas.microsoft.com/office/drawing/2014/main" id="{CCA07542-0D65-D3D8-3F21-66C104D0F4B1}"/>
              </a:ext>
            </a:extLst>
          </p:cNvPr>
          <p:cNvSpPr/>
          <p:nvPr/>
        </p:nvSpPr>
        <p:spPr>
          <a:xfrm>
            <a:off x="7232671" y="572724"/>
            <a:ext cx="637126" cy="637126"/>
          </a:xfrm>
          <a:custGeom>
            <a:avLst/>
            <a:gdLst/>
            <a:ahLst/>
            <a:cxnLst/>
            <a:rect l="l" t="t" r="r" b="b"/>
            <a:pathLst>
              <a:path w="955689" h="955689">
                <a:moveTo>
                  <a:pt x="0" y="0"/>
                </a:moveTo>
                <a:lnTo>
                  <a:pt x="955689" y="0"/>
                </a:lnTo>
                <a:lnTo>
                  <a:pt x="955689" y="955690"/>
                </a:lnTo>
                <a:lnTo>
                  <a:pt x="0" y="95569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52" name="Freeform 19">
            <a:extLst>
              <a:ext uri="{FF2B5EF4-FFF2-40B4-BE49-F238E27FC236}">
                <a16:creationId xmlns:a16="http://schemas.microsoft.com/office/drawing/2014/main" id="{CE423965-B03A-1DCB-8EAA-8F5585DD3038}"/>
              </a:ext>
            </a:extLst>
          </p:cNvPr>
          <p:cNvSpPr/>
          <p:nvPr/>
        </p:nvSpPr>
        <p:spPr>
          <a:xfrm>
            <a:off x="7719446" y="1561566"/>
            <a:ext cx="783662" cy="783662"/>
          </a:xfrm>
          <a:custGeom>
            <a:avLst/>
            <a:gdLst/>
            <a:ahLst/>
            <a:cxnLst/>
            <a:rect l="l" t="t" r="r" b="b"/>
            <a:pathLst>
              <a:path w="1175493" h="1175493">
                <a:moveTo>
                  <a:pt x="0" y="0"/>
                </a:moveTo>
                <a:lnTo>
                  <a:pt x="1175493" y="0"/>
                </a:lnTo>
                <a:lnTo>
                  <a:pt x="1175493" y="1175493"/>
                </a:lnTo>
                <a:lnTo>
                  <a:pt x="0" y="1175493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54" name="Freeform 20">
            <a:extLst>
              <a:ext uri="{FF2B5EF4-FFF2-40B4-BE49-F238E27FC236}">
                <a16:creationId xmlns:a16="http://schemas.microsoft.com/office/drawing/2014/main" id="{3E105351-F03F-67FC-6696-15625A59B3DF}"/>
              </a:ext>
            </a:extLst>
          </p:cNvPr>
          <p:cNvSpPr/>
          <p:nvPr/>
        </p:nvSpPr>
        <p:spPr>
          <a:xfrm>
            <a:off x="7821782" y="3480421"/>
            <a:ext cx="529748" cy="804171"/>
          </a:xfrm>
          <a:custGeom>
            <a:avLst/>
            <a:gdLst/>
            <a:ahLst/>
            <a:cxnLst/>
            <a:rect l="l" t="t" r="r" b="b"/>
            <a:pathLst>
              <a:path w="794622" h="1206257">
                <a:moveTo>
                  <a:pt x="0" y="0"/>
                </a:moveTo>
                <a:lnTo>
                  <a:pt x="794622" y="0"/>
                </a:lnTo>
                <a:lnTo>
                  <a:pt x="794622" y="1206257"/>
                </a:lnTo>
                <a:lnTo>
                  <a:pt x="0" y="1206257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56" name="Freeform 21">
            <a:extLst>
              <a:ext uri="{FF2B5EF4-FFF2-40B4-BE49-F238E27FC236}">
                <a16:creationId xmlns:a16="http://schemas.microsoft.com/office/drawing/2014/main" id="{8465787A-1D06-F49C-8F29-CC6770EE0306}"/>
              </a:ext>
            </a:extLst>
          </p:cNvPr>
          <p:cNvSpPr/>
          <p:nvPr/>
        </p:nvSpPr>
        <p:spPr>
          <a:xfrm>
            <a:off x="7197470" y="2541822"/>
            <a:ext cx="719250" cy="719250"/>
          </a:xfrm>
          <a:custGeom>
            <a:avLst/>
            <a:gdLst/>
            <a:ahLst/>
            <a:cxnLst/>
            <a:rect l="l" t="t" r="r" b="b"/>
            <a:pathLst>
              <a:path w="1078875" h="1078875">
                <a:moveTo>
                  <a:pt x="0" y="0"/>
                </a:moveTo>
                <a:lnTo>
                  <a:pt x="1078875" y="0"/>
                </a:lnTo>
                <a:lnTo>
                  <a:pt x="1078875" y="1078874"/>
                </a:lnTo>
                <a:lnTo>
                  <a:pt x="0" y="1078874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</p:sp>
      <p:sp>
        <p:nvSpPr>
          <p:cNvPr id="58" name="Freeform 22">
            <a:extLst>
              <a:ext uri="{FF2B5EF4-FFF2-40B4-BE49-F238E27FC236}">
                <a16:creationId xmlns:a16="http://schemas.microsoft.com/office/drawing/2014/main" id="{AFFB5764-7898-C118-9BA9-DBA3D73A58A1}"/>
              </a:ext>
            </a:extLst>
          </p:cNvPr>
          <p:cNvSpPr/>
          <p:nvPr/>
        </p:nvSpPr>
        <p:spPr>
          <a:xfrm>
            <a:off x="7168303" y="4493884"/>
            <a:ext cx="765861" cy="765861"/>
          </a:xfrm>
          <a:custGeom>
            <a:avLst/>
            <a:gdLst/>
            <a:ahLst/>
            <a:cxnLst/>
            <a:rect l="l" t="t" r="r" b="b"/>
            <a:pathLst>
              <a:path w="1148791" h="1148791">
                <a:moveTo>
                  <a:pt x="0" y="0"/>
                </a:moveTo>
                <a:lnTo>
                  <a:pt x="1148791" y="0"/>
                </a:lnTo>
                <a:lnTo>
                  <a:pt x="1148791" y="1148791"/>
                </a:lnTo>
                <a:lnTo>
                  <a:pt x="0" y="1148791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</p:sp>
      <p:grpSp>
        <p:nvGrpSpPr>
          <p:cNvPr id="62" name="Group 23">
            <a:extLst>
              <a:ext uri="{FF2B5EF4-FFF2-40B4-BE49-F238E27FC236}">
                <a16:creationId xmlns:a16="http://schemas.microsoft.com/office/drawing/2014/main" id="{E4663C56-7DE5-792C-708A-33CA5BDD8547}"/>
              </a:ext>
            </a:extLst>
          </p:cNvPr>
          <p:cNvGrpSpPr/>
          <p:nvPr/>
        </p:nvGrpSpPr>
        <p:grpSpPr>
          <a:xfrm>
            <a:off x="7621835" y="5272445"/>
            <a:ext cx="1001973" cy="1165933"/>
            <a:chOff x="0" y="0"/>
            <a:chExt cx="698500" cy="812800"/>
          </a:xfrm>
        </p:grpSpPr>
        <p:sp>
          <p:nvSpPr>
            <p:cNvPr id="60" name="Freeform 24">
              <a:extLst>
                <a:ext uri="{FF2B5EF4-FFF2-40B4-BE49-F238E27FC236}">
                  <a16:creationId xmlns:a16="http://schemas.microsoft.com/office/drawing/2014/main" id="{4F2E8D1D-6F9C-223D-16C9-AC1F19FBE38E}"/>
                </a:ext>
              </a:extLst>
            </p:cNvPr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0CC0DF"/>
            </a:solidFill>
          </p:spPr>
        </p:sp>
        <p:sp>
          <p:nvSpPr>
            <p:cNvPr id="61" name="TextBox 25">
              <a:extLst>
                <a:ext uri="{FF2B5EF4-FFF2-40B4-BE49-F238E27FC236}">
                  <a16:creationId xmlns:a16="http://schemas.microsoft.com/office/drawing/2014/main" id="{0E4482E2-44E4-6A7A-3156-D51C4A2795D2}"/>
                </a:ext>
              </a:extLst>
            </p:cNvPr>
            <p:cNvSpPr txBox="1"/>
            <p:nvPr/>
          </p:nvSpPr>
          <p:spPr>
            <a:xfrm>
              <a:off x="0" y="82550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239"/>
                </a:lnSpc>
              </a:pPr>
              <a:endParaRPr sz="800"/>
            </a:p>
          </p:txBody>
        </p:sp>
      </p:grpSp>
      <p:sp>
        <p:nvSpPr>
          <p:cNvPr id="960" name="Freeform 26">
            <a:extLst>
              <a:ext uri="{FF2B5EF4-FFF2-40B4-BE49-F238E27FC236}">
                <a16:creationId xmlns:a16="http://schemas.microsoft.com/office/drawing/2014/main" id="{273A5783-9316-D55C-0F22-115F455F6311}"/>
              </a:ext>
            </a:extLst>
          </p:cNvPr>
          <p:cNvSpPr/>
          <p:nvPr/>
        </p:nvSpPr>
        <p:spPr>
          <a:xfrm>
            <a:off x="7763197" y="5481104"/>
            <a:ext cx="640847" cy="709097"/>
          </a:xfrm>
          <a:custGeom>
            <a:avLst/>
            <a:gdLst/>
            <a:ahLst/>
            <a:cxnLst/>
            <a:rect l="l" t="t" r="r" b="b"/>
            <a:pathLst>
              <a:path w="961270" h="1063646">
                <a:moveTo>
                  <a:pt x="0" y="0"/>
                </a:moveTo>
                <a:lnTo>
                  <a:pt x="961270" y="0"/>
                </a:lnTo>
                <a:lnTo>
                  <a:pt x="961270" y="1063645"/>
                </a:lnTo>
                <a:lnTo>
                  <a:pt x="0" y="1063645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</p:sp>
      <p:sp>
        <p:nvSpPr>
          <p:cNvPr id="962" name="TextBox 27">
            <a:extLst>
              <a:ext uri="{FF2B5EF4-FFF2-40B4-BE49-F238E27FC236}">
                <a16:creationId xmlns:a16="http://schemas.microsoft.com/office/drawing/2014/main" id="{F146580A-2E80-A6A0-B74F-B89BC22CC87B}"/>
              </a:ext>
            </a:extLst>
          </p:cNvPr>
          <p:cNvSpPr txBox="1"/>
          <p:nvPr/>
        </p:nvSpPr>
        <p:spPr>
          <a:xfrm>
            <a:off x="8309596" y="727458"/>
            <a:ext cx="2574535" cy="33701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spc="63">
                <a:solidFill>
                  <a:srgbClr val="000000"/>
                </a:solidFill>
                <a:latin typeface="Barlow Semi-Bold"/>
              </a:rPr>
              <a:t>Stratify the Data</a:t>
            </a:r>
          </a:p>
        </p:txBody>
      </p:sp>
      <p:sp>
        <p:nvSpPr>
          <p:cNvPr id="964" name="TextBox 28">
            <a:extLst>
              <a:ext uri="{FF2B5EF4-FFF2-40B4-BE49-F238E27FC236}">
                <a16:creationId xmlns:a16="http://schemas.microsoft.com/office/drawing/2014/main" id="{FFB486E5-4769-BCAB-E09C-A88D3119B65A}"/>
              </a:ext>
            </a:extLst>
          </p:cNvPr>
          <p:cNvSpPr txBox="1"/>
          <p:nvPr/>
        </p:nvSpPr>
        <p:spPr>
          <a:xfrm>
            <a:off x="8880820" y="1729170"/>
            <a:ext cx="2875618" cy="33701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spc="63">
                <a:solidFill>
                  <a:srgbClr val="000000"/>
                </a:solidFill>
                <a:latin typeface="Barlow Semi-Bold"/>
              </a:rPr>
              <a:t>Identify the Disparities​</a:t>
            </a:r>
          </a:p>
        </p:txBody>
      </p:sp>
      <p:sp>
        <p:nvSpPr>
          <p:cNvPr id="966" name="TextBox 29">
            <a:extLst>
              <a:ext uri="{FF2B5EF4-FFF2-40B4-BE49-F238E27FC236}">
                <a16:creationId xmlns:a16="http://schemas.microsoft.com/office/drawing/2014/main" id="{DC4C8EC1-A674-F132-7DF4-A51A54DB4748}"/>
              </a:ext>
            </a:extLst>
          </p:cNvPr>
          <p:cNvSpPr txBox="1"/>
          <p:nvPr/>
        </p:nvSpPr>
        <p:spPr>
          <a:xfrm>
            <a:off x="8800611" y="3544647"/>
            <a:ext cx="3449702" cy="69435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50" spc="63">
                <a:solidFill>
                  <a:srgbClr val="000000"/>
                </a:solidFill>
                <a:latin typeface="Barlow Semi-Bold"/>
              </a:rPr>
              <a:t>Engage patient / community partners​ for input </a:t>
            </a:r>
            <a:endParaRPr lang="en-US" sz="1999" spc="63">
              <a:solidFill>
                <a:srgbClr val="000000"/>
              </a:solidFill>
              <a:latin typeface="Barlow Semi-Bold"/>
            </a:endParaRPr>
          </a:p>
        </p:txBody>
      </p:sp>
      <p:sp>
        <p:nvSpPr>
          <p:cNvPr id="968" name="TextBox 30">
            <a:extLst>
              <a:ext uri="{FF2B5EF4-FFF2-40B4-BE49-F238E27FC236}">
                <a16:creationId xmlns:a16="http://schemas.microsoft.com/office/drawing/2014/main" id="{C473993E-C712-50F4-5109-4F0EE747DCA2}"/>
              </a:ext>
            </a:extLst>
          </p:cNvPr>
          <p:cNvSpPr txBox="1"/>
          <p:nvPr/>
        </p:nvSpPr>
        <p:spPr>
          <a:xfrm>
            <a:off x="8315092" y="2542856"/>
            <a:ext cx="3495917" cy="69435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50" spc="63">
                <a:solidFill>
                  <a:srgbClr val="000000"/>
                </a:solidFill>
                <a:latin typeface="Barlow Semi-Bold"/>
              </a:rPr>
              <a:t>Share stratified data with your clinical team and take action!</a:t>
            </a:r>
          </a:p>
        </p:txBody>
      </p:sp>
      <p:sp>
        <p:nvSpPr>
          <p:cNvPr id="970" name="TextBox 31">
            <a:extLst>
              <a:ext uri="{FF2B5EF4-FFF2-40B4-BE49-F238E27FC236}">
                <a16:creationId xmlns:a16="http://schemas.microsoft.com/office/drawing/2014/main" id="{AAEF7A73-086F-AE10-E197-7F91B79D0DA5}"/>
              </a:ext>
            </a:extLst>
          </p:cNvPr>
          <p:cNvSpPr txBox="1"/>
          <p:nvPr/>
        </p:nvSpPr>
        <p:spPr>
          <a:xfrm>
            <a:off x="8309318" y="4476224"/>
            <a:ext cx="2903473" cy="69608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spc="63">
                <a:solidFill>
                  <a:srgbClr val="000000"/>
                </a:solidFill>
                <a:latin typeface="Barlow Semi-Bold"/>
              </a:rPr>
              <a:t>Expand access to doulas and midwives</a:t>
            </a:r>
          </a:p>
        </p:txBody>
      </p:sp>
      <p:sp>
        <p:nvSpPr>
          <p:cNvPr id="972" name="TextBox 32">
            <a:extLst>
              <a:ext uri="{FF2B5EF4-FFF2-40B4-BE49-F238E27FC236}">
                <a16:creationId xmlns:a16="http://schemas.microsoft.com/office/drawing/2014/main" id="{21AEE495-137E-7A23-FCFB-946F725D8A90}"/>
              </a:ext>
            </a:extLst>
          </p:cNvPr>
          <p:cNvSpPr txBox="1"/>
          <p:nvPr/>
        </p:nvSpPr>
        <p:spPr>
          <a:xfrm>
            <a:off x="8880820" y="5436654"/>
            <a:ext cx="3273283" cy="69608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spc="63">
                <a:solidFill>
                  <a:srgbClr val="000000"/>
                </a:solidFill>
                <a:latin typeface="Barlow Semi-Bold"/>
              </a:rPr>
              <a:t>Improve shared decision making and respectful care</a:t>
            </a:r>
          </a:p>
        </p:txBody>
      </p:sp>
      <p:sp>
        <p:nvSpPr>
          <p:cNvPr id="973" name="TextBox 972">
            <a:extLst>
              <a:ext uri="{FF2B5EF4-FFF2-40B4-BE49-F238E27FC236}">
                <a16:creationId xmlns:a16="http://schemas.microsoft.com/office/drawing/2014/main" id="{E3943A3C-2F3B-7974-D7A5-98F333AD2C96}"/>
              </a:ext>
            </a:extLst>
          </p:cNvPr>
          <p:cNvSpPr txBox="1"/>
          <p:nvPr/>
        </p:nvSpPr>
        <p:spPr>
          <a:xfrm>
            <a:off x="1095214" y="6054671"/>
            <a:ext cx="506794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solidFill>
                  <a:srgbClr val="17375E"/>
                </a:solidFill>
              </a:rPr>
              <a:t>Check your folder for the TAKE ACTION! to Address NTSV CS Disparities resource</a:t>
            </a:r>
            <a:endParaRPr lang="en-US"/>
          </a:p>
        </p:txBody>
      </p:sp>
      <p:pic>
        <p:nvPicPr>
          <p:cNvPr id="3" name="Picture 2" descr="A graph with colored lines and numbers&#10;&#10;Description automatically generated">
            <a:extLst>
              <a:ext uri="{FF2B5EF4-FFF2-40B4-BE49-F238E27FC236}">
                <a16:creationId xmlns:a16="http://schemas.microsoft.com/office/drawing/2014/main" id="{9C3BDC33-E0D7-27D3-81B7-F068BE413CD3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310" y="1479612"/>
            <a:ext cx="6807198" cy="4568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422984"/>
      </p:ext>
    </p:extLst>
  </p:cSld>
  <p:clrMapOvr>
    <a:masterClrMapping/>
  </p:clrMapOvr>
  <p:extLst>
    <p:ext uri="{6950BFC3-D8DA-4A85-94F7-54DA5524770B}">
      <p188:commentRel xmlns:p188="http://schemas.microsoft.com/office/powerpoint/2018/8/main" xmlns="" r:id="rId16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rot="5400000">
            <a:off x="3636757" y="2320112"/>
            <a:ext cx="5269209" cy="3418399"/>
          </a:xfrm>
          <a:custGeom>
            <a:avLst/>
            <a:gdLst/>
            <a:ahLst/>
            <a:cxnLst/>
            <a:rect l="l" t="t" r="r" b="b"/>
            <a:pathLst>
              <a:path w="7903814" h="5127599">
                <a:moveTo>
                  <a:pt x="0" y="0"/>
                </a:moveTo>
                <a:lnTo>
                  <a:pt x="7903814" y="0"/>
                </a:lnTo>
                <a:lnTo>
                  <a:pt x="7903814" y="5127600"/>
                </a:lnTo>
                <a:lnTo>
                  <a:pt x="0" y="5127600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3" name="Freeform 3"/>
          <p:cNvSpPr/>
          <p:nvPr/>
        </p:nvSpPr>
        <p:spPr>
          <a:xfrm rot="5400000">
            <a:off x="5991932" y="2320111"/>
            <a:ext cx="5269209" cy="3418399"/>
          </a:xfrm>
          <a:custGeom>
            <a:avLst/>
            <a:gdLst/>
            <a:ahLst/>
            <a:cxnLst/>
            <a:rect l="l" t="t" r="r" b="b"/>
            <a:pathLst>
              <a:path w="7903814" h="5127599">
                <a:moveTo>
                  <a:pt x="0" y="0"/>
                </a:moveTo>
                <a:lnTo>
                  <a:pt x="7903815" y="0"/>
                </a:lnTo>
                <a:lnTo>
                  <a:pt x="7903815" y="5127600"/>
                </a:lnTo>
                <a:lnTo>
                  <a:pt x="0" y="5127600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4" name="Freeform 4"/>
          <p:cNvSpPr/>
          <p:nvPr/>
        </p:nvSpPr>
        <p:spPr>
          <a:xfrm rot="5400000">
            <a:off x="1239704" y="2320112"/>
            <a:ext cx="5269209" cy="3418399"/>
          </a:xfrm>
          <a:custGeom>
            <a:avLst/>
            <a:gdLst/>
            <a:ahLst/>
            <a:cxnLst/>
            <a:rect l="l" t="t" r="r" b="b"/>
            <a:pathLst>
              <a:path w="7903814" h="5127599">
                <a:moveTo>
                  <a:pt x="0" y="0"/>
                </a:moveTo>
                <a:lnTo>
                  <a:pt x="7903814" y="0"/>
                </a:lnTo>
                <a:lnTo>
                  <a:pt x="7903814" y="5127600"/>
                </a:lnTo>
                <a:lnTo>
                  <a:pt x="0" y="5127600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5" name="TextBox 5"/>
          <p:cNvSpPr txBox="1"/>
          <p:nvPr/>
        </p:nvSpPr>
        <p:spPr>
          <a:xfrm>
            <a:off x="2791567" y="4509480"/>
            <a:ext cx="1878855" cy="139781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6">
              <a:lnSpc>
                <a:spcPts val="2800"/>
              </a:lnSpc>
            </a:pPr>
            <a:r>
              <a:rPr lang="en-US" sz="2000">
                <a:solidFill>
                  <a:srgbClr val="000000"/>
                </a:solidFill>
                <a:latin typeface="Barlow Bold"/>
              </a:rPr>
              <a:t>Cesarean Decision Huddles and Checklist</a:t>
            </a:r>
          </a:p>
        </p:txBody>
      </p:sp>
      <p:sp>
        <p:nvSpPr>
          <p:cNvPr id="6" name="TextBox 6"/>
          <p:cNvSpPr txBox="1"/>
          <p:nvPr/>
        </p:nvSpPr>
        <p:spPr>
          <a:xfrm>
            <a:off x="3321636" y="2362201"/>
            <a:ext cx="1575062" cy="103874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6">
              <a:lnSpc>
                <a:spcPts val="2800"/>
              </a:lnSpc>
              <a:spcBef>
                <a:spcPct val="0"/>
              </a:spcBef>
            </a:pPr>
            <a:r>
              <a:rPr lang="en-US" sz="2000">
                <a:solidFill>
                  <a:srgbClr val="000000"/>
                </a:solidFill>
                <a:latin typeface="Barlow Bold"/>
              </a:rPr>
              <a:t>Clinical Team Education and Buy-in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5535884" y="2123706"/>
            <a:ext cx="1796071" cy="140493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6">
              <a:lnSpc>
                <a:spcPts val="2800"/>
              </a:lnSpc>
              <a:spcBef>
                <a:spcPct val="0"/>
              </a:spcBef>
            </a:pPr>
            <a:r>
              <a:rPr lang="en-US" sz="2000" err="1">
                <a:solidFill>
                  <a:srgbClr val="000000"/>
                </a:solidFill>
                <a:latin typeface="Barlow Bold"/>
              </a:rPr>
              <a:t>Unblinded</a:t>
            </a:r>
            <a:r>
              <a:rPr lang="en-US" sz="2000">
                <a:solidFill>
                  <a:srgbClr val="000000"/>
                </a:solidFill>
                <a:latin typeface="Barlow Bold"/>
              </a:rPr>
              <a:t> Provider-level NTSV C-Section Rates ​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5181409" y="4504567"/>
            <a:ext cx="1782430" cy="140493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2800"/>
              </a:lnSpc>
              <a:spcBef>
                <a:spcPct val="0"/>
              </a:spcBef>
            </a:pPr>
            <a:r>
              <a:rPr lang="en-US" sz="2000">
                <a:solidFill>
                  <a:srgbClr val="000000"/>
                </a:solidFill>
                <a:latin typeface="Barlow Bold"/>
              </a:rPr>
              <a:t>Fallout Reviews of cases not meeting ACOG/ SMFM Criteria​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7538329" y="4565409"/>
            <a:ext cx="1888195" cy="106173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2800"/>
              </a:lnSpc>
              <a:spcBef>
                <a:spcPct val="0"/>
              </a:spcBef>
            </a:pPr>
            <a:r>
              <a:rPr lang="en-US" sz="2000">
                <a:solidFill>
                  <a:srgbClr val="000000"/>
                </a:solidFill>
                <a:latin typeface="Barlow Bold"/>
              </a:rPr>
              <a:t>Labor Management Support​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7880200" y="2123706"/>
            <a:ext cx="1805582" cy="140493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6">
              <a:lnSpc>
                <a:spcPts val="2800"/>
              </a:lnSpc>
              <a:spcBef>
                <a:spcPct val="0"/>
              </a:spcBef>
            </a:pPr>
            <a:r>
              <a:rPr lang="en-US" sz="2000">
                <a:solidFill>
                  <a:srgbClr val="000000"/>
                </a:solidFill>
                <a:latin typeface="Barlow Bold"/>
              </a:rPr>
              <a:t>Educating patients and shared decision making ​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483140" y="132848"/>
            <a:ext cx="10972800" cy="1325563"/>
          </a:xfrm>
        </p:spPr>
        <p:txBody>
          <a:bodyPr/>
          <a:lstStyle/>
          <a:p>
            <a:r>
              <a:rPr lang="en-US"/>
              <a:t>PVB Key Strategies: </a:t>
            </a:r>
            <a:br>
              <a:rPr lang="en-US"/>
            </a:br>
            <a:r>
              <a:rPr lang="en-US" sz="2800"/>
              <a:t>Putting it all together</a:t>
            </a:r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39"/>
          <a:stretch/>
        </p:blipFill>
        <p:spPr>
          <a:xfrm>
            <a:off x="455016" y="2123706"/>
            <a:ext cx="1695026" cy="1436291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77613" y="1795319"/>
            <a:ext cx="1464364" cy="1482576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52299" y="4270443"/>
            <a:ext cx="1558123" cy="1509056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102" y="4225291"/>
            <a:ext cx="1674322" cy="1412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7379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0F672F-E125-C36C-CB2B-77D36B361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1243" y="386001"/>
            <a:ext cx="3091842" cy="1325563"/>
          </a:xfrm>
        </p:spPr>
        <p:txBody>
          <a:bodyPr/>
          <a:lstStyle/>
          <a:p>
            <a:pPr algn="ctr"/>
            <a:r>
              <a:rPr lang="en-US">
                <a:ea typeface="Lato Medium"/>
                <a:cs typeface="Lato Medium"/>
              </a:rPr>
              <a:t>PVB Successes </a:t>
            </a:r>
            <a:endParaRPr lang="en-US"/>
          </a:p>
        </p:txBody>
      </p:sp>
      <p:graphicFrame>
        <p:nvGraphicFramePr>
          <p:cNvPr id="43" name="Content Placeholder 42">
            <a:extLst>
              <a:ext uri="{FF2B5EF4-FFF2-40B4-BE49-F238E27FC236}">
                <a16:creationId xmlns:a16="http://schemas.microsoft.com/office/drawing/2014/main" id="{219795A4-0437-DBAA-10D4-18F0EABAE0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48358719"/>
              </p:ext>
            </p:extLst>
          </p:nvPr>
        </p:nvGraphicFramePr>
        <p:xfrm>
          <a:off x="233819" y="1554227"/>
          <a:ext cx="5816253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22" name="Diagram 221">
            <a:extLst>
              <a:ext uri="{FF2B5EF4-FFF2-40B4-BE49-F238E27FC236}">
                <a16:creationId xmlns:a16="http://schemas.microsoft.com/office/drawing/2014/main" id="{A1C1CF70-13BA-C1A6-3B6D-D7B2A40B2C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3245864"/>
              </p:ext>
            </p:extLst>
          </p:nvPr>
        </p:nvGraphicFramePr>
        <p:xfrm>
          <a:off x="6878877" y="2142995"/>
          <a:ext cx="4572000" cy="3657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83" name="Title 1">
            <a:extLst>
              <a:ext uri="{FF2B5EF4-FFF2-40B4-BE49-F238E27FC236}">
                <a16:creationId xmlns:a16="http://schemas.microsoft.com/office/drawing/2014/main" id="{2CC28803-5D92-7B37-1938-51A5542238B0}"/>
              </a:ext>
            </a:extLst>
          </p:cNvPr>
          <p:cNvSpPr txBox="1">
            <a:spLocks/>
          </p:cNvSpPr>
          <p:nvPr/>
        </p:nvSpPr>
        <p:spPr>
          <a:xfrm>
            <a:off x="7171151" y="1415223"/>
            <a:ext cx="394778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algn="ctr"/>
            <a:r>
              <a:rPr lang="en-US">
                <a:solidFill>
                  <a:schemeClr val="accent2"/>
                </a:solidFill>
                <a:ea typeface="Lato Medium"/>
                <a:cs typeface="Lato Medium"/>
              </a:rPr>
              <a:t>PVB Opportunities</a:t>
            </a:r>
            <a:endParaRPr lang="en-US">
              <a:solidFill>
                <a:schemeClr val="accent2"/>
              </a:solidFill>
            </a:endParaRPr>
          </a:p>
        </p:txBody>
      </p:sp>
      <p:sp>
        <p:nvSpPr>
          <p:cNvPr id="292" name="Wave 291">
            <a:extLst>
              <a:ext uri="{FF2B5EF4-FFF2-40B4-BE49-F238E27FC236}">
                <a16:creationId xmlns:a16="http://schemas.microsoft.com/office/drawing/2014/main" id="{D28B5806-B1C1-F755-070A-279FAF21EF3A}"/>
              </a:ext>
            </a:extLst>
          </p:cNvPr>
          <p:cNvSpPr/>
          <p:nvPr/>
        </p:nvSpPr>
        <p:spPr>
          <a:xfrm>
            <a:off x="5435979" y="87508"/>
            <a:ext cx="2135105" cy="1324429"/>
          </a:xfrm>
          <a:prstGeom prst="wave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>
                <a:cs typeface="Calibri"/>
              </a:rPr>
              <a:t>2023 Teams Survey</a:t>
            </a:r>
          </a:p>
        </p:txBody>
      </p:sp>
    </p:spTree>
    <p:extLst>
      <p:ext uri="{BB962C8B-B14F-4D97-AF65-F5344CB8AC3E}">
        <p14:creationId xmlns:p14="http://schemas.microsoft.com/office/powerpoint/2010/main" val="22113485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0D553A-5780-E8EE-75D3-E2D0F712AD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913" y="1185"/>
            <a:ext cx="10972800" cy="1325563"/>
          </a:xfrm>
        </p:spPr>
        <p:txBody>
          <a:bodyPr>
            <a:normAutofit/>
          </a:bodyPr>
          <a:lstStyle/>
          <a:p>
            <a:r>
              <a:rPr lang="en-US">
                <a:ea typeface="+mj-lt"/>
                <a:cs typeface="+mj-lt"/>
              </a:rPr>
              <a:t>Most Utilized PVB Strategie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D36D7E-D028-5894-67CC-94C0BA776B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endParaRPr lang="en-US">
              <a:cs typeface="Arial"/>
            </a:endParaRP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59ACF4-44B6-C3A6-70C2-9C21B3F04A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1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542052-0067-F5BF-DF6D-A15CFEF4EC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9" name="Wave 8">
            <a:extLst>
              <a:ext uri="{FF2B5EF4-FFF2-40B4-BE49-F238E27FC236}">
                <a16:creationId xmlns:a16="http://schemas.microsoft.com/office/drawing/2014/main" id="{30996C40-15A8-403A-84D1-E140883FE500}"/>
              </a:ext>
            </a:extLst>
          </p:cNvPr>
          <p:cNvSpPr/>
          <p:nvPr/>
        </p:nvSpPr>
        <p:spPr>
          <a:xfrm>
            <a:off x="5814675" y="183013"/>
            <a:ext cx="2287122" cy="1302083"/>
          </a:xfrm>
          <a:prstGeom prst="wave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>
                <a:cs typeface="Calibri"/>
              </a:rPr>
              <a:t>2023 Teams Survey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9E676A74-5589-438F-B810-B9C3C5F52E4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1628048"/>
              </p:ext>
            </p:extLst>
          </p:nvPr>
        </p:nvGraphicFramePr>
        <p:xfrm>
          <a:off x="180560" y="1482306"/>
          <a:ext cx="6505184" cy="5054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5DC4B46E-217C-DADA-98AC-0AD090CA3320}"/>
              </a:ext>
            </a:extLst>
          </p:cNvPr>
          <p:cNvSpPr/>
          <p:nvPr/>
        </p:nvSpPr>
        <p:spPr>
          <a:xfrm>
            <a:off x="-245376" y="1418441"/>
            <a:ext cx="7244366" cy="933718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742254B-2805-CB2B-9CAF-73AA7AF2780D}"/>
              </a:ext>
            </a:extLst>
          </p:cNvPr>
          <p:cNvSpPr txBox="1">
            <a:spLocks/>
          </p:cNvSpPr>
          <p:nvPr/>
        </p:nvSpPr>
        <p:spPr>
          <a:xfrm>
            <a:off x="7151819" y="1763120"/>
            <a:ext cx="5148698" cy="397541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>
                <a:ea typeface="Lato"/>
                <a:cs typeface="Lato"/>
              </a:rPr>
              <a:t>What was your process for sharing unblinded data?</a:t>
            </a:r>
          </a:p>
          <a:p>
            <a:pPr lvl="1"/>
            <a:r>
              <a:rPr lang="en-US">
                <a:ea typeface="Lato"/>
                <a:cs typeface="Lato"/>
              </a:rPr>
              <a:t>Service Line/Department Meetings</a:t>
            </a:r>
          </a:p>
          <a:p>
            <a:pPr lvl="1"/>
            <a:r>
              <a:rPr lang="en-US">
                <a:ea typeface="Lato"/>
                <a:cs typeface="Lato"/>
              </a:rPr>
              <a:t>Email to Providers</a:t>
            </a:r>
            <a:endParaRPr lang="en-US"/>
          </a:p>
          <a:p>
            <a:pPr lvl="1"/>
            <a:r>
              <a:rPr lang="en-US">
                <a:ea typeface="Lato"/>
                <a:cs typeface="Lato"/>
              </a:rPr>
              <a:t>Unblinded Data Posted</a:t>
            </a:r>
            <a:endParaRPr lang="en-US"/>
          </a:p>
          <a:p>
            <a:pPr lvl="1"/>
            <a:r>
              <a:rPr lang="en-US">
                <a:ea typeface="Lato"/>
                <a:cs typeface="Lato"/>
              </a:rPr>
              <a:t>Individual Meeting with Provider</a:t>
            </a:r>
            <a:endParaRPr lang="en-US"/>
          </a:p>
          <a:p>
            <a:pPr lvl="1"/>
            <a:r>
              <a:rPr lang="en-US">
                <a:ea typeface="Lato"/>
                <a:cs typeface="Lato"/>
              </a:rPr>
              <a:t>Dashboard/Scorecard</a:t>
            </a:r>
            <a:endParaRPr lang="en-US"/>
          </a:p>
          <a:p>
            <a:pPr lvl="1"/>
            <a:r>
              <a:rPr lang="en-US">
                <a:ea typeface="Lato"/>
                <a:cs typeface="Lato"/>
              </a:rPr>
              <a:t>Quarterly Practice Reports</a:t>
            </a:r>
            <a:endParaRPr lang="en-US"/>
          </a:p>
          <a:p>
            <a:pPr lvl="1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2402978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0D553A-5780-E8EE-75D3-E2D0F712AD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913" y="1185"/>
            <a:ext cx="10972800" cy="1325563"/>
          </a:xfrm>
        </p:spPr>
        <p:txBody>
          <a:bodyPr>
            <a:normAutofit/>
          </a:bodyPr>
          <a:lstStyle/>
          <a:p>
            <a:r>
              <a:rPr lang="en-US">
                <a:ea typeface="+mj-lt"/>
                <a:cs typeface="+mj-lt"/>
              </a:rPr>
              <a:t>Most Effective PVB Strategie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D36D7E-D028-5894-67CC-94C0BA776B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endParaRPr lang="en-US">
              <a:cs typeface="Arial"/>
            </a:endParaRP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59ACF4-44B6-C3A6-70C2-9C21B3F04A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542052-0067-F5BF-DF6D-A15CFEF4EC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9" name="Wave 8">
            <a:extLst>
              <a:ext uri="{FF2B5EF4-FFF2-40B4-BE49-F238E27FC236}">
                <a16:creationId xmlns:a16="http://schemas.microsoft.com/office/drawing/2014/main" id="{30996C40-15A8-403A-84D1-E140883FE500}"/>
              </a:ext>
            </a:extLst>
          </p:cNvPr>
          <p:cNvSpPr/>
          <p:nvPr/>
        </p:nvSpPr>
        <p:spPr>
          <a:xfrm>
            <a:off x="9900023" y="1468525"/>
            <a:ext cx="2072475" cy="1355744"/>
          </a:xfrm>
          <a:prstGeom prst="wave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>
                <a:cs typeface="Calibri"/>
              </a:rPr>
              <a:t>2023 Teams Surve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0E6FCB0-B7EF-E88A-9EBE-75B42ADF88A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00" y="1324789"/>
            <a:ext cx="9640612" cy="495728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2FAF56-0CEA-38CF-9CA3-DFC548D23AD8}"/>
              </a:ext>
            </a:extLst>
          </p:cNvPr>
          <p:cNvSpPr txBox="1"/>
          <p:nvPr/>
        </p:nvSpPr>
        <p:spPr>
          <a:xfrm>
            <a:off x="9895015" y="2911406"/>
            <a:ext cx="2050957" cy="31085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800">
                <a:solidFill>
                  <a:schemeClr val="accent1"/>
                </a:solidFill>
                <a:cs typeface="Calibri"/>
              </a:rPr>
              <a:t>Each key strategy was reported as</a:t>
            </a:r>
            <a:r>
              <a:rPr lang="en-US" sz="2800" b="1">
                <a:solidFill>
                  <a:srgbClr val="92D050"/>
                </a:solidFill>
                <a:cs typeface="Calibri"/>
              </a:rPr>
              <a:t> </a:t>
            </a:r>
            <a:r>
              <a:rPr lang="en-US" sz="2800" b="1">
                <a:solidFill>
                  <a:schemeClr val="accent1"/>
                </a:solidFill>
                <a:highlight>
                  <a:srgbClr val="00FF00"/>
                </a:highlight>
                <a:cs typeface="Calibri"/>
              </a:rPr>
              <a:t>Very Helpful</a:t>
            </a:r>
            <a:r>
              <a:rPr lang="en-US" sz="2800">
                <a:solidFill>
                  <a:srgbClr val="92D050"/>
                </a:solidFill>
                <a:cs typeface="Calibri"/>
              </a:rPr>
              <a:t> </a:t>
            </a:r>
            <a:r>
              <a:rPr lang="en-US" sz="2800">
                <a:solidFill>
                  <a:schemeClr val="accent1"/>
                </a:solidFill>
                <a:cs typeface="Calibri"/>
              </a:rPr>
              <a:t>to over 50% of the teams.</a:t>
            </a:r>
          </a:p>
        </p:txBody>
      </p:sp>
    </p:spTree>
    <p:extLst>
      <p:ext uri="{BB962C8B-B14F-4D97-AF65-F5344CB8AC3E}">
        <p14:creationId xmlns:p14="http://schemas.microsoft.com/office/powerpoint/2010/main" val="2396533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DB6F79-84B8-210E-61FE-FF3B8698BC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178" y="-110043"/>
            <a:ext cx="6821606" cy="1325563"/>
          </a:xfrm>
          <a:noFill/>
        </p:spPr>
        <p:txBody>
          <a:bodyPr/>
          <a:lstStyle/>
          <a:p>
            <a:r>
              <a:rPr lang="en-US" sz="2800">
                <a:ea typeface="Lato Medium"/>
                <a:cs typeface="Arial"/>
              </a:rPr>
              <a:t>Improving % of  NTSV C-sections meeting ACOG/SMFM Criteria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40FD83-97E5-3BDD-7D74-8899F9C079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D9028C-4048-5671-77C5-5B6D9D2098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aphicFrame>
        <p:nvGraphicFramePr>
          <p:cNvPr id="21" name="TextBox 2">
            <a:extLst>
              <a:ext uri="{FF2B5EF4-FFF2-40B4-BE49-F238E27FC236}">
                <a16:creationId xmlns:a16="http://schemas.microsoft.com/office/drawing/2014/main" id="{8BCEA08B-1C25-76D6-2426-73BB1C7220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87105267"/>
              </p:ext>
            </p:extLst>
          </p:nvPr>
        </p:nvGraphicFramePr>
        <p:xfrm>
          <a:off x="-3712432" y="2275270"/>
          <a:ext cx="13524305" cy="3968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8" name="TextBox 57">
            <a:extLst>
              <a:ext uri="{FF2B5EF4-FFF2-40B4-BE49-F238E27FC236}">
                <a16:creationId xmlns:a16="http://schemas.microsoft.com/office/drawing/2014/main" id="{ABF09A82-3C33-B14E-A14E-E344E00BD61D}"/>
              </a:ext>
            </a:extLst>
          </p:cNvPr>
          <p:cNvSpPr txBox="1"/>
          <p:nvPr/>
        </p:nvSpPr>
        <p:spPr>
          <a:xfrm>
            <a:off x="724194" y="1321163"/>
            <a:ext cx="4285190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800">
                <a:cs typeface="Arial"/>
              </a:rPr>
              <a:t>Strategies Most Utilized </a:t>
            </a:r>
            <a:endParaRPr lang="en-US"/>
          </a:p>
        </p:txBody>
      </p:sp>
      <p:sp>
        <p:nvSpPr>
          <p:cNvPr id="12" name="Wave 11">
            <a:extLst>
              <a:ext uri="{FF2B5EF4-FFF2-40B4-BE49-F238E27FC236}">
                <a16:creationId xmlns:a16="http://schemas.microsoft.com/office/drawing/2014/main" id="{5DD2F544-D1C0-4C38-8FCA-0DA70B3B73BC}"/>
              </a:ext>
            </a:extLst>
          </p:cNvPr>
          <p:cNvSpPr/>
          <p:nvPr/>
        </p:nvSpPr>
        <p:spPr>
          <a:xfrm>
            <a:off x="4553479" y="707904"/>
            <a:ext cx="2072475" cy="1355744"/>
          </a:xfrm>
          <a:prstGeom prst="wave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>
                <a:cs typeface="Calibri"/>
              </a:rPr>
              <a:t>2023 Teams Survey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954B78B-62F6-9C67-5C01-2B9E190802C9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86695" y="1697995"/>
            <a:ext cx="4197927" cy="5025484"/>
          </a:xfrm>
          <a:prstGeom prst="rect">
            <a:avLst/>
          </a:prstGeom>
          <a:ln w="57150">
            <a:solidFill>
              <a:schemeClr val="accent1"/>
            </a:solidFill>
          </a:ln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79F95BE2-4780-BDC0-AD3C-2A19D06C74D8}"/>
              </a:ext>
            </a:extLst>
          </p:cNvPr>
          <p:cNvSpPr/>
          <p:nvPr/>
        </p:nvSpPr>
        <p:spPr>
          <a:xfrm>
            <a:off x="6963253" y="910912"/>
            <a:ext cx="2932109" cy="674062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b="1">
                <a:cs typeface="Calibri"/>
              </a:rPr>
              <a:t>ILPQC Fallout Review Form – find it in your folder!</a:t>
            </a:r>
          </a:p>
        </p:txBody>
      </p:sp>
    </p:spTree>
    <p:extLst>
      <p:ext uri="{BB962C8B-B14F-4D97-AF65-F5344CB8AC3E}">
        <p14:creationId xmlns:p14="http://schemas.microsoft.com/office/powerpoint/2010/main" val="10564668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ea typeface="Lato"/>
                <a:cs typeface="Lato"/>
              </a:rPr>
              <a:t>2023 Annual Conference Recap</a:t>
            </a:r>
            <a:endParaRPr lang="en-US" dirty="0"/>
          </a:p>
          <a:p>
            <a:r>
              <a:rPr lang="en-US" sz="2400" dirty="0">
                <a:ea typeface="Lato"/>
                <a:cs typeface="Lato"/>
              </a:rPr>
              <a:t>PVB Data overview</a:t>
            </a:r>
          </a:p>
          <a:p>
            <a:r>
              <a:rPr lang="en-US" dirty="0">
                <a:ea typeface="Lato"/>
                <a:cs typeface="Lato"/>
              </a:rPr>
              <a:t>PVB 2024</a:t>
            </a:r>
          </a:p>
          <a:p>
            <a:r>
              <a:rPr lang="en-US" dirty="0">
                <a:ea typeface="Lato"/>
                <a:cs typeface="Lato"/>
              </a:rPr>
              <a:t>PVB Team Sharing </a:t>
            </a:r>
          </a:p>
          <a:p>
            <a:pPr>
              <a:spcBef>
                <a:spcPct val="20000"/>
              </a:spcBef>
              <a:spcAft>
                <a:spcPct val="0"/>
              </a:spcAft>
            </a:pPr>
            <a:r>
              <a:rPr lang="en-US" dirty="0">
                <a:ea typeface="Lato"/>
                <a:cs typeface="Calibri"/>
              </a:rPr>
              <a:t>PVB Next Steps</a:t>
            </a:r>
            <a:endParaRPr lang="en-US" dirty="0">
              <a:cs typeface="Calibri"/>
            </a:endParaRPr>
          </a:p>
          <a:p>
            <a:pPr lvl="1">
              <a:spcBef>
                <a:spcPct val="20000"/>
              </a:spcBef>
              <a:spcAft>
                <a:spcPct val="0"/>
              </a:spcAft>
              <a:buClr>
                <a:srgbClr val="1C498B"/>
              </a:buClr>
            </a:pPr>
            <a:endParaRPr lang="en-US" dirty="0">
              <a:cs typeface="Calibri"/>
            </a:endParaRPr>
          </a:p>
          <a:p>
            <a:pPr lvl="1">
              <a:spcBef>
                <a:spcPct val="20000"/>
              </a:spcBef>
              <a:spcAft>
                <a:spcPct val="0"/>
              </a:spcAft>
              <a:buClr>
                <a:srgbClr val="1C498B"/>
              </a:buClr>
            </a:pPr>
            <a:endParaRPr lang="en-US" dirty="0">
              <a:cs typeface="Calibri"/>
            </a:endParaRPr>
          </a:p>
          <a:p>
            <a:pPr>
              <a:buClr>
                <a:srgbClr val="F5668F"/>
              </a:buClr>
            </a:pPr>
            <a:endParaRPr lang="en-US" dirty="0"/>
          </a:p>
          <a:p>
            <a:pPr lvl="1"/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8580824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AB462E-B427-E199-60BF-1D5D94536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44" y="140273"/>
            <a:ext cx="10972800" cy="1325563"/>
          </a:xfrm>
        </p:spPr>
        <p:txBody>
          <a:bodyPr/>
          <a:lstStyle/>
          <a:p>
            <a:r>
              <a:rPr lang="en-US"/>
              <a:t>Crossing the Finish Line with PVB in 2024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EB5486E1-48A4-7196-FEA7-97AF98FF502A}"/>
              </a:ext>
            </a:extLst>
          </p:cNvPr>
          <p:cNvSpPr/>
          <p:nvPr/>
        </p:nvSpPr>
        <p:spPr>
          <a:xfrm>
            <a:off x="650090" y="1613343"/>
            <a:ext cx="2828794" cy="991643"/>
          </a:xfrm>
          <a:prstGeom prst="roundRect">
            <a:avLst/>
          </a:prstGeom>
          <a:noFill/>
          <a:ln w="28575">
            <a:solidFill>
              <a:srgbClr val="00AC4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rgbClr val="444C55"/>
                </a:solidFill>
                <a:cs typeface="Arial"/>
              </a:rPr>
              <a:t>62% of PVB Teams report feeling ready to move to sustainability</a:t>
            </a:r>
            <a:endParaRPr lang="en-US">
              <a:solidFill>
                <a:srgbClr val="444C55"/>
              </a:solidFill>
            </a:endParaRPr>
          </a:p>
        </p:txBody>
      </p:sp>
      <p:pic>
        <p:nvPicPr>
          <p:cNvPr id="71" name="Picture 70" descr="A pie chart with different colored sections&#10;&#10;Description automatically generated">
            <a:extLst>
              <a:ext uri="{FF2B5EF4-FFF2-40B4-BE49-F238E27FC236}">
                <a16:creationId xmlns:a16="http://schemas.microsoft.com/office/drawing/2014/main" id="{AD014517-6DF1-4AA8-9423-7ADA494033A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94" y="2708382"/>
            <a:ext cx="3892982" cy="3788391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FBBF1389-BD80-906C-FF91-5212E270D760}"/>
              </a:ext>
            </a:extLst>
          </p:cNvPr>
          <p:cNvSpPr txBox="1"/>
          <p:nvPr/>
        </p:nvSpPr>
        <p:spPr>
          <a:xfrm>
            <a:off x="4038599" y="4706480"/>
            <a:ext cx="4861921" cy="646331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cs typeface="Arial"/>
              </a:rPr>
              <a:t>We will contact teams in the next few weeks with opportunities for ongoing support in 2024</a:t>
            </a:r>
            <a:endParaRPr lang="en-US" dirty="0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4183177C-9D92-DA12-8836-603957646F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39735587"/>
              </p:ext>
            </p:extLst>
          </p:nvPr>
        </p:nvGraphicFramePr>
        <p:xfrm>
          <a:off x="3478884" y="1056342"/>
          <a:ext cx="8756016" cy="45555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910522576"/>
      </p:ext>
    </p:extLst>
  </p:cSld>
  <p:clrMapOvr>
    <a:masterClrMapping/>
  </p:clrMapOvr>
  <p:extLst>
    <p:ext uri="{6950BFC3-D8DA-4A85-94F7-54DA5524770B}">
      <p188:commentRel xmlns:p188="http://schemas.microsoft.com/office/powerpoint/2018/8/main" xmlns="" r:id="rId9"/>
    </p:ext>
  </p:extLs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1065721" y="2856687"/>
            <a:ext cx="3240633" cy="3253099"/>
            <a:chOff x="0" y="-38100"/>
            <a:chExt cx="812800" cy="85090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1933" y="0"/>
                  </a:moveTo>
                  <a:lnTo>
                    <a:pt x="770867" y="0"/>
                  </a:lnTo>
                  <a:cubicBezTo>
                    <a:pt x="781988" y="0"/>
                    <a:pt x="792654" y="4418"/>
                    <a:pt x="800518" y="12282"/>
                  </a:cubicBezTo>
                  <a:cubicBezTo>
                    <a:pt x="808382" y="20146"/>
                    <a:pt x="812800" y="30812"/>
                    <a:pt x="812800" y="41933"/>
                  </a:cubicBezTo>
                  <a:lnTo>
                    <a:pt x="812800" y="770867"/>
                  </a:lnTo>
                  <a:cubicBezTo>
                    <a:pt x="812800" y="781988"/>
                    <a:pt x="808382" y="792654"/>
                    <a:pt x="800518" y="800518"/>
                  </a:cubicBezTo>
                  <a:cubicBezTo>
                    <a:pt x="792654" y="808382"/>
                    <a:pt x="781988" y="812800"/>
                    <a:pt x="770867" y="812800"/>
                  </a:cubicBezTo>
                  <a:lnTo>
                    <a:pt x="41933" y="812800"/>
                  </a:lnTo>
                  <a:cubicBezTo>
                    <a:pt x="30812" y="812800"/>
                    <a:pt x="20146" y="808382"/>
                    <a:pt x="12282" y="800518"/>
                  </a:cubicBezTo>
                  <a:cubicBezTo>
                    <a:pt x="4418" y="792654"/>
                    <a:pt x="0" y="781988"/>
                    <a:pt x="0" y="770867"/>
                  </a:cubicBezTo>
                  <a:lnTo>
                    <a:pt x="0" y="41933"/>
                  </a:lnTo>
                  <a:cubicBezTo>
                    <a:pt x="0" y="30812"/>
                    <a:pt x="4418" y="20146"/>
                    <a:pt x="12282" y="12282"/>
                  </a:cubicBezTo>
                  <a:cubicBezTo>
                    <a:pt x="20146" y="4418"/>
                    <a:pt x="30812" y="0"/>
                    <a:pt x="41933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819FEB"/>
              </a:solidFill>
              <a:prstDash val="solid"/>
              <a:miter/>
            </a:ln>
          </p:spPr>
        </p:sp>
        <p:sp>
          <p:nvSpPr>
            <p:cNvPr id="4" name="TextBox 4"/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5" name="Group 5"/>
          <p:cNvGrpSpPr/>
          <p:nvPr/>
        </p:nvGrpSpPr>
        <p:grpSpPr>
          <a:xfrm>
            <a:off x="4545344" y="2851559"/>
            <a:ext cx="3255010" cy="3238722"/>
            <a:chOff x="0" y="-38100"/>
            <a:chExt cx="812800" cy="850900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1933" y="0"/>
                  </a:moveTo>
                  <a:lnTo>
                    <a:pt x="770867" y="0"/>
                  </a:lnTo>
                  <a:cubicBezTo>
                    <a:pt x="781988" y="0"/>
                    <a:pt x="792654" y="4418"/>
                    <a:pt x="800518" y="12282"/>
                  </a:cubicBezTo>
                  <a:cubicBezTo>
                    <a:pt x="808382" y="20146"/>
                    <a:pt x="812800" y="30812"/>
                    <a:pt x="812800" y="41933"/>
                  </a:cubicBezTo>
                  <a:lnTo>
                    <a:pt x="812800" y="770867"/>
                  </a:lnTo>
                  <a:cubicBezTo>
                    <a:pt x="812800" y="781988"/>
                    <a:pt x="808382" y="792654"/>
                    <a:pt x="800518" y="800518"/>
                  </a:cubicBezTo>
                  <a:cubicBezTo>
                    <a:pt x="792654" y="808382"/>
                    <a:pt x="781988" y="812800"/>
                    <a:pt x="770867" y="812800"/>
                  </a:cubicBezTo>
                  <a:lnTo>
                    <a:pt x="41933" y="812800"/>
                  </a:lnTo>
                  <a:cubicBezTo>
                    <a:pt x="30812" y="812800"/>
                    <a:pt x="20146" y="808382"/>
                    <a:pt x="12282" y="800518"/>
                  </a:cubicBezTo>
                  <a:cubicBezTo>
                    <a:pt x="4418" y="792654"/>
                    <a:pt x="0" y="781988"/>
                    <a:pt x="0" y="770867"/>
                  </a:cubicBezTo>
                  <a:lnTo>
                    <a:pt x="0" y="41933"/>
                  </a:lnTo>
                  <a:cubicBezTo>
                    <a:pt x="0" y="30812"/>
                    <a:pt x="4418" y="20146"/>
                    <a:pt x="12282" y="12282"/>
                  </a:cubicBezTo>
                  <a:cubicBezTo>
                    <a:pt x="20146" y="4418"/>
                    <a:pt x="30812" y="0"/>
                    <a:pt x="41933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7986CB"/>
              </a:solidFill>
              <a:prstDash val="solid"/>
              <a:miter/>
            </a:ln>
          </p:spPr>
        </p:sp>
        <p:sp>
          <p:nvSpPr>
            <p:cNvPr id="7" name="TextBox 7"/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8064534" y="2854999"/>
            <a:ext cx="3249105" cy="3248113"/>
            <a:chOff x="0" y="-38100"/>
            <a:chExt cx="812800" cy="8509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1014" y="0"/>
                  </a:moveTo>
                  <a:lnTo>
                    <a:pt x="771786" y="0"/>
                  </a:lnTo>
                  <a:cubicBezTo>
                    <a:pt x="794437" y="0"/>
                    <a:pt x="812800" y="18363"/>
                    <a:pt x="812800" y="41014"/>
                  </a:cubicBezTo>
                  <a:lnTo>
                    <a:pt x="812800" y="771786"/>
                  </a:lnTo>
                  <a:cubicBezTo>
                    <a:pt x="812800" y="794437"/>
                    <a:pt x="794437" y="812800"/>
                    <a:pt x="771786" y="812800"/>
                  </a:cubicBezTo>
                  <a:lnTo>
                    <a:pt x="41014" y="812800"/>
                  </a:lnTo>
                  <a:cubicBezTo>
                    <a:pt x="18363" y="812800"/>
                    <a:pt x="0" y="794437"/>
                    <a:pt x="0" y="771786"/>
                  </a:cubicBezTo>
                  <a:lnTo>
                    <a:pt x="0" y="41014"/>
                  </a:lnTo>
                  <a:cubicBezTo>
                    <a:pt x="0" y="18363"/>
                    <a:pt x="18363" y="0"/>
                    <a:pt x="41014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6D79B7"/>
              </a:solidFill>
              <a:prstDash val="solid"/>
              <a:miter/>
            </a:ln>
          </p:spPr>
        </p:sp>
        <p:sp>
          <p:nvSpPr>
            <p:cNvPr id="10" name="TextBox 10"/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772231" y="3218335"/>
            <a:ext cx="1829902" cy="1353482"/>
            <a:chOff x="0" y="-38100"/>
            <a:chExt cx="518754" cy="370942"/>
          </a:xfrm>
        </p:grpSpPr>
        <p:sp>
          <p:nvSpPr>
            <p:cNvPr id="12" name="Freeform 12"/>
            <p:cNvSpPr/>
            <p:nvPr/>
          </p:nvSpPr>
          <p:spPr>
            <a:xfrm>
              <a:off x="52660" y="-9752"/>
              <a:ext cx="466094" cy="332842"/>
            </a:xfrm>
            <a:custGeom>
              <a:avLst/>
              <a:gdLst/>
              <a:ahLst/>
              <a:cxnLst/>
              <a:rect l="l" t="t" r="r" b="b"/>
              <a:pathLst>
                <a:path w="466094" h="332842">
                  <a:moveTo>
                    <a:pt x="73125" y="0"/>
                  </a:moveTo>
                  <a:lnTo>
                    <a:pt x="392969" y="0"/>
                  </a:lnTo>
                  <a:cubicBezTo>
                    <a:pt x="433355" y="0"/>
                    <a:pt x="466094" y="32739"/>
                    <a:pt x="466094" y="73125"/>
                  </a:cubicBezTo>
                  <a:lnTo>
                    <a:pt x="466094" y="259717"/>
                  </a:lnTo>
                  <a:cubicBezTo>
                    <a:pt x="466094" y="300103"/>
                    <a:pt x="433355" y="332842"/>
                    <a:pt x="392969" y="332842"/>
                  </a:cubicBezTo>
                  <a:lnTo>
                    <a:pt x="73125" y="332842"/>
                  </a:lnTo>
                  <a:cubicBezTo>
                    <a:pt x="32739" y="332842"/>
                    <a:pt x="0" y="300103"/>
                    <a:pt x="0" y="259717"/>
                  </a:cubicBezTo>
                  <a:lnTo>
                    <a:pt x="0" y="73125"/>
                  </a:lnTo>
                  <a:cubicBezTo>
                    <a:pt x="0" y="32739"/>
                    <a:pt x="32739" y="0"/>
                    <a:pt x="73125" y="0"/>
                  </a:cubicBezTo>
                  <a:close/>
                </a:path>
              </a:pathLst>
            </a:custGeom>
            <a:solidFill>
              <a:srgbClr val="819FEB"/>
            </a:solidFill>
          </p:spPr>
        </p:sp>
        <p:sp>
          <p:nvSpPr>
            <p:cNvPr id="13" name="TextBox 13"/>
            <p:cNvSpPr txBox="1"/>
            <p:nvPr/>
          </p:nvSpPr>
          <p:spPr>
            <a:xfrm>
              <a:off x="0" y="-38100"/>
              <a:ext cx="466094" cy="37094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4" name="Group 14"/>
          <p:cNvGrpSpPr/>
          <p:nvPr/>
        </p:nvGrpSpPr>
        <p:grpSpPr>
          <a:xfrm>
            <a:off x="5338473" y="3175462"/>
            <a:ext cx="1656037" cy="1353483"/>
            <a:chOff x="0" y="-38100"/>
            <a:chExt cx="466094" cy="370942"/>
          </a:xfrm>
        </p:grpSpPr>
        <p:sp>
          <p:nvSpPr>
            <p:cNvPr id="15" name="Freeform 15"/>
            <p:cNvSpPr/>
            <p:nvPr/>
          </p:nvSpPr>
          <p:spPr>
            <a:xfrm>
              <a:off x="0" y="0"/>
              <a:ext cx="466094" cy="332842"/>
            </a:xfrm>
            <a:custGeom>
              <a:avLst/>
              <a:gdLst/>
              <a:ahLst/>
              <a:cxnLst/>
              <a:rect l="l" t="t" r="r" b="b"/>
              <a:pathLst>
                <a:path w="466094" h="332842">
                  <a:moveTo>
                    <a:pt x="73125" y="0"/>
                  </a:moveTo>
                  <a:lnTo>
                    <a:pt x="392969" y="0"/>
                  </a:lnTo>
                  <a:cubicBezTo>
                    <a:pt x="433355" y="0"/>
                    <a:pt x="466094" y="32739"/>
                    <a:pt x="466094" y="73125"/>
                  </a:cubicBezTo>
                  <a:lnTo>
                    <a:pt x="466094" y="259717"/>
                  </a:lnTo>
                  <a:cubicBezTo>
                    <a:pt x="466094" y="300103"/>
                    <a:pt x="433355" y="332842"/>
                    <a:pt x="392969" y="332842"/>
                  </a:cubicBezTo>
                  <a:lnTo>
                    <a:pt x="73125" y="332842"/>
                  </a:lnTo>
                  <a:cubicBezTo>
                    <a:pt x="32739" y="332842"/>
                    <a:pt x="0" y="300103"/>
                    <a:pt x="0" y="259717"/>
                  </a:cubicBezTo>
                  <a:lnTo>
                    <a:pt x="0" y="73125"/>
                  </a:lnTo>
                  <a:cubicBezTo>
                    <a:pt x="0" y="32739"/>
                    <a:pt x="32739" y="0"/>
                    <a:pt x="73125" y="0"/>
                  </a:cubicBezTo>
                  <a:close/>
                </a:path>
              </a:pathLst>
            </a:custGeom>
            <a:solidFill>
              <a:srgbClr val="7986CB"/>
            </a:solidFill>
          </p:spPr>
        </p:sp>
        <p:sp>
          <p:nvSpPr>
            <p:cNvPr id="16" name="TextBox 16"/>
            <p:cNvSpPr txBox="1"/>
            <p:nvPr/>
          </p:nvSpPr>
          <p:spPr>
            <a:xfrm>
              <a:off x="0" y="-38100"/>
              <a:ext cx="466094" cy="37094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7" name="Group 17"/>
          <p:cNvGrpSpPr/>
          <p:nvPr/>
        </p:nvGrpSpPr>
        <p:grpSpPr>
          <a:xfrm>
            <a:off x="8978176" y="3327739"/>
            <a:ext cx="1543903" cy="1145666"/>
            <a:chOff x="0" y="0"/>
            <a:chExt cx="466094" cy="332842"/>
          </a:xfrm>
        </p:grpSpPr>
        <p:sp>
          <p:nvSpPr>
            <p:cNvPr id="18" name="Freeform 18"/>
            <p:cNvSpPr/>
            <p:nvPr/>
          </p:nvSpPr>
          <p:spPr>
            <a:xfrm>
              <a:off x="0" y="0"/>
              <a:ext cx="466094" cy="332842"/>
            </a:xfrm>
            <a:custGeom>
              <a:avLst/>
              <a:gdLst/>
              <a:ahLst/>
              <a:cxnLst/>
              <a:rect l="l" t="t" r="r" b="b"/>
              <a:pathLst>
                <a:path w="466094" h="332842">
                  <a:moveTo>
                    <a:pt x="71522" y="0"/>
                  </a:moveTo>
                  <a:lnTo>
                    <a:pt x="394572" y="0"/>
                  </a:lnTo>
                  <a:cubicBezTo>
                    <a:pt x="413541" y="0"/>
                    <a:pt x="431733" y="7535"/>
                    <a:pt x="445146" y="20948"/>
                  </a:cubicBezTo>
                  <a:cubicBezTo>
                    <a:pt x="458559" y="34361"/>
                    <a:pt x="466094" y="52553"/>
                    <a:pt x="466094" y="71522"/>
                  </a:cubicBezTo>
                  <a:lnTo>
                    <a:pt x="466094" y="261320"/>
                  </a:lnTo>
                  <a:cubicBezTo>
                    <a:pt x="466094" y="300821"/>
                    <a:pt x="434072" y="332842"/>
                    <a:pt x="394572" y="332842"/>
                  </a:cubicBezTo>
                  <a:lnTo>
                    <a:pt x="71522" y="332842"/>
                  </a:lnTo>
                  <a:cubicBezTo>
                    <a:pt x="52553" y="332842"/>
                    <a:pt x="34361" y="325307"/>
                    <a:pt x="20948" y="311894"/>
                  </a:cubicBezTo>
                  <a:cubicBezTo>
                    <a:pt x="7535" y="298481"/>
                    <a:pt x="0" y="280289"/>
                    <a:pt x="0" y="261320"/>
                  </a:cubicBezTo>
                  <a:lnTo>
                    <a:pt x="0" y="71522"/>
                  </a:lnTo>
                  <a:cubicBezTo>
                    <a:pt x="0" y="52553"/>
                    <a:pt x="7535" y="34361"/>
                    <a:pt x="20948" y="20948"/>
                  </a:cubicBezTo>
                  <a:cubicBezTo>
                    <a:pt x="34361" y="7535"/>
                    <a:pt x="52553" y="0"/>
                    <a:pt x="71522" y="0"/>
                  </a:cubicBezTo>
                  <a:close/>
                </a:path>
              </a:pathLst>
            </a:custGeom>
            <a:solidFill>
              <a:srgbClr val="6D79B7"/>
            </a:solidFill>
          </p:spPr>
        </p:sp>
        <p:sp>
          <p:nvSpPr>
            <p:cNvPr id="19" name="TextBox 19"/>
            <p:cNvSpPr txBox="1"/>
            <p:nvPr/>
          </p:nvSpPr>
          <p:spPr>
            <a:xfrm>
              <a:off x="0" y="-38100"/>
              <a:ext cx="466094" cy="37094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26" name="TextBox 26"/>
          <p:cNvSpPr txBox="1"/>
          <p:nvPr/>
        </p:nvSpPr>
        <p:spPr>
          <a:xfrm>
            <a:off x="1104264" y="-596778"/>
            <a:ext cx="1112150" cy="1192353"/>
          </a:xfrm>
          <a:prstGeom prst="rect">
            <a:avLst/>
          </a:prstGeom>
        </p:spPr>
        <p:txBody>
          <a:bodyPr lIns="33867" tIns="33867" rIns="33867" bIns="33867" rtlCol="0" anchor="ctr"/>
          <a:lstStyle/>
          <a:p>
            <a:pPr algn="ctr">
              <a:lnSpc>
                <a:spcPts val="1599"/>
              </a:lnSpc>
            </a:pPr>
            <a:endParaRPr sz="800"/>
          </a:p>
        </p:txBody>
      </p:sp>
      <p:grpSp>
        <p:nvGrpSpPr>
          <p:cNvPr id="27" name="Group 27"/>
          <p:cNvGrpSpPr/>
          <p:nvPr/>
        </p:nvGrpSpPr>
        <p:grpSpPr>
          <a:xfrm>
            <a:off x="11607800" y="-390900"/>
            <a:ext cx="1368800" cy="1368800"/>
            <a:chOff x="0" y="0"/>
            <a:chExt cx="812800" cy="812800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</p:sp>
        <p:sp>
          <p:nvSpPr>
            <p:cNvPr id="29" name="TextBox 29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sp>
        <p:nvSpPr>
          <p:cNvPr id="34" name="Freeform 34"/>
          <p:cNvSpPr/>
          <p:nvPr/>
        </p:nvSpPr>
        <p:spPr>
          <a:xfrm>
            <a:off x="5726442" y="3468743"/>
            <a:ext cx="891922" cy="850168"/>
          </a:xfrm>
          <a:custGeom>
            <a:avLst/>
            <a:gdLst/>
            <a:ahLst/>
            <a:cxnLst/>
            <a:rect l="l" t="t" r="r" b="b"/>
            <a:pathLst>
              <a:path w="1087364" h="1087364">
                <a:moveTo>
                  <a:pt x="0" y="0"/>
                </a:moveTo>
                <a:lnTo>
                  <a:pt x="1087365" y="0"/>
                </a:lnTo>
                <a:lnTo>
                  <a:pt x="1087365" y="1087365"/>
                </a:lnTo>
                <a:lnTo>
                  <a:pt x="0" y="1087365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35" name="Freeform 35"/>
          <p:cNvSpPr/>
          <p:nvPr/>
        </p:nvSpPr>
        <p:spPr>
          <a:xfrm>
            <a:off x="2316183" y="3556764"/>
            <a:ext cx="887072" cy="876633"/>
          </a:xfrm>
          <a:custGeom>
            <a:avLst/>
            <a:gdLst/>
            <a:ahLst/>
            <a:cxnLst/>
            <a:rect l="l" t="t" r="r" b="b"/>
            <a:pathLst>
              <a:path w="1111404" h="1111404">
                <a:moveTo>
                  <a:pt x="0" y="0"/>
                </a:moveTo>
                <a:lnTo>
                  <a:pt x="1111403" y="0"/>
                </a:lnTo>
                <a:lnTo>
                  <a:pt x="1111403" y="1111404"/>
                </a:lnTo>
                <a:lnTo>
                  <a:pt x="0" y="1111404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36" name="Freeform 36"/>
          <p:cNvSpPr/>
          <p:nvPr/>
        </p:nvSpPr>
        <p:spPr>
          <a:xfrm>
            <a:off x="9238054" y="3473710"/>
            <a:ext cx="1017845" cy="885219"/>
          </a:xfrm>
          <a:custGeom>
            <a:avLst/>
            <a:gdLst/>
            <a:ahLst/>
            <a:cxnLst/>
            <a:rect l="l" t="t" r="r" b="b"/>
            <a:pathLst>
              <a:path w="1354536" h="1186912">
                <a:moveTo>
                  <a:pt x="0" y="0"/>
                </a:moveTo>
                <a:lnTo>
                  <a:pt x="1354536" y="0"/>
                </a:lnTo>
                <a:lnTo>
                  <a:pt x="1354536" y="1186911"/>
                </a:lnTo>
                <a:lnTo>
                  <a:pt x="0" y="1186911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37" name="TextBox 37"/>
          <p:cNvSpPr txBox="1"/>
          <p:nvPr/>
        </p:nvSpPr>
        <p:spPr>
          <a:xfrm>
            <a:off x="1535554" y="5006346"/>
            <a:ext cx="2441126" cy="6155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 algn="ctr">
              <a:lnSpc>
                <a:spcPts val="2436"/>
              </a:lnSpc>
              <a:spcBef>
                <a:spcPct val="0"/>
              </a:spcBef>
            </a:pPr>
            <a:r>
              <a:rPr lang="en-US" sz="2200" b="1" spc="55">
                <a:solidFill>
                  <a:srgbClr val="819FEB"/>
                </a:solidFill>
                <a:latin typeface="Barlow Semi-Bold"/>
              </a:rPr>
              <a:t>Compliance Monitoring</a:t>
            </a:r>
          </a:p>
        </p:txBody>
      </p:sp>
      <p:sp>
        <p:nvSpPr>
          <p:cNvPr id="38" name="TextBox 38"/>
          <p:cNvSpPr txBox="1"/>
          <p:nvPr/>
        </p:nvSpPr>
        <p:spPr>
          <a:xfrm>
            <a:off x="5343937" y="5009003"/>
            <a:ext cx="1646677" cy="6155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 algn="ctr">
              <a:lnSpc>
                <a:spcPts val="2436"/>
              </a:lnSpc>
              <a:spcBef>
                <a:spcPct val="0"/>
              </a:spcBef>
            </a:pPr>
            <a:r>
              <a:rPr lang="en-US" sz="2200" b="1" spc="55">
                <a:solidFill>
                  <a:srgbClr val="7986CB"/>
                </a:solidFill>
                <a:latin typeface="Barlow Semi-Bold"/>
              </a:rPr>
              <a:t>New Hire Education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8411148" y="4846968"/>
            <a:ext cx="2671460" cy="64120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 algn="ctr">
              <a:lnSpc>
                <a:spcPts val="2491"/>
              </a:lnSpc>
              <a:spcBef>
                <a:spcPct val="0"/>
              </a:spcBef>
            </a:pPr>
            <a:r>
              <a:rPr lang="en-US" sz="2200" b="1" spc="57">
                <a:solidFill>
                  <a:srgbClr val="6D79B7"/>
                </a:solidFill>
                <a:latin typeface="Barlow Semi-Bold"/>
              </a:rPr>
              <a:t>Ongoing Provider and Nurse Education</a:t>
            </a:r>
          </a:p>
        </p:txBody>
      </p:sp>
      <p:sp>
        <p:nvSpPr>
          <p:cNvPr id="41" name="TextBox 41"/>
          <p:cNvSpPr txBox="1"/>
          <p:nvPr/>
        </p:nvSpPr>
        <p:spPr>
          <a:xfrm>
            <a:off x="1420243" y="1811585"/>
            <a:ext cx="9619538" cy="67826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599"/>
              </a:lnSpc>
              <a:spcBef>
                <a:spcPct val="0"/>
              </a:spcBef>
            </a:pPr>
            <a:r>
              <a:rPr lang="en-US" sz="2600" spc="90">
                <a:solidFill>
                  <a:schemeClr val="accent1"/>
                </a:solidFill>
                <a:latin typeface="Barlow SemiCondensed"/>
              </a:rPr>
              <a:t>Sustainability planning is vital to maintain all the incredible progress PVB teams have made over the last 3 years</a:t>
            </a:r>
          </a:p>
        </p:txBody>
      </p:sp>
      <p:sp>
        <p:nvSpPr>
          <p:cNvPr id="42" name="Title 41">
            <a:extLst>
              <a:ext uri="{FF2B5EF4-FFF2-40B4-BE49-F238E27FC236}">
                <a16:creationId xmlns:a16="http://schemas.microsoft.com/office/drawing/2014/main" id="{B2F9EAA4-6826-602C-FE2A-906692CE89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769" y="465766"/>
            <a:ext cx="8126083" cy="1339940"/>
          </a:xfrm>
        </p:spPr>
        <p:txBody>
          <a:bodyPr/>
          <a:lstStyle/>
          <a:p>
            <a:pPr algn="ctr"/>
            <a:r>
              <a:rPr lang="en-US">
                <a:ea typeface="Lato Medium"/>
                <a:cs typeface="Lato Medium"/>
              </a:rPr>
              <a:t>Components of PVB Sustainability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38206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stainability Pla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LPQC is working to create the draft sustainability plan which we will share with teams soon! </a:t>
            </a:r>
          </a:p>
          <a:p>
            <a:r>
              <a:rPr lang="en-US" dirty="0"/>
              <a:t>Sustainability plan will include</a:t>
            </a:r>
          </a:p>
          <a:p>
            <a:pPr lvl="1"/>
            <a:r>
              <a:rPr lang="en-US" dirty="0"/>
              <a:t>Plans to incorporate PVB education for all new hires and ongoing education as needed</a:t>
            </a:r>
          </a:p>
          <a:p>
            <a:pPr lvl="1"/>
            <a:r>
              <a:rPr lang="en-US" dirty="0"/>
              <a:t>Plans for monitoring data for compliance with NTSV C/S goals  and response if NTSV C/S rates rise above benchmarks.    </a:t>
            </a:r>
          </a:p>
          <a:p>
            <a:pPr lvl="1"/>
            <a:r>
              <a:rPr lang="en-US" dirty="0"/>
              <a:t>Plans for continued implementation of key strategies including ongoing labor management support, checklists and huddles, fallout reviews,  shared decision making, sharing unblinded provider level NTSV C-section rates.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801752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VB Reduced Data Entry in 2024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31925"/>
            <a:ext cx="10972800" cy="4351338"/>
          </a:xfrm>
        </p:spPr>
        <p:txBody>
          <a:bodyPr/>
          <a:lstStyle/>
          <a:p>
            <a:r>
              <a:rPr lang="en-US" dirty="0"/>
              <a:t>ILPQC will be reviewing the PVB Data forms to reduce data collection for sustainability.  If you have suggestions please let us know. </a:t>
            </a:r>
          </a:p>
          <a:p>
            <a:r>
              <a:rPr lang="en-US" dirty="0"/>
              <a:t>Hospital Level Data form will be reduced</a:t>
            </a:r>
          </a:p>
          <a:p>
            <a:pPr lvl="1"/>
            <a:r>
              <a:rPr lang="en-US" dirty="0"/>
              <a:t>Once key structure measures are green, you will no longer have to enter structure measure </a:t>
            </a:r>
          </a:p>
          <a:p>
            <a:pPr lvl="1"/>
            <a:r>
              <a:rPr lang="en-US" dirty="0"/>
              <a:t>All teams have met education goals and that measure will no longer be collected</a:t>
            </a:r>
          </a:p>
          <a:p>
            <a:pPr lvl="1"/>
            <a:r>
              <a:rPr lang="en-US" dirty="0"/>
              <a:t>You will continue to share NTSV C-Section Rate data stratified by race, ethnicity and insurance status</a:t>
            </a:r>
          </a:p>
          <a:p>
            <a:r>
              <a:rPr lang="en-US" dirty="0"/>
              <a:t>Patient Level Data Form will be reduced</a:t>
            </a:r>
          </a:p>
          <a:p>
            <a:pPr lvl="1"/>
            <a:r>
              <a:rPr lang="en-US" dirty="0"/>
              <a:t>We will remove questions that do not directly affect your PVB ACOG/SMFM Criteria reports</a:t>
            </a:r>
          </a:p>
          <a:p>
            <a:pPr lvl="1"/>
            <a:r>
              <a:rPr lang="en-US" dirty="0"/>
              <a:t>You will no longer enter vaginal deliveri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26461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 rot="16200000">
            <a:off x="2574592" y="791601"/>
            <a:ext cx="1888391" cy="4159061"/>
            <a:chOff x="0" y="0"/>
            <a:chExt cx="635000" cy="1535372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FFFFFF"/>
            </a:solidFill>
            <a:ln w="47625" cap="sq">
              <a:solidFill>
                <a:srgbClr val="819FEB"/>
              </a:solidFill>
              <a:prstDash val="solid"/>
              <a:miter/>
            </a:ln>
          </p:spPr>
        </p:sp>
        <p:sp>
          <p:nvSpPr>
            <p:cNvPr id="4" name="TextBox 4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5" name="Group 5"/>
          <p:cNvGrpSpPr/>
          <p:nvPr/>
        </p:nvGrpSpPr>
        <p:grpSpPr>
          <a:xfrm rot="16200000">
            <a:off x="2453942" y="690001"/>
            <a:ext cx="1888391" cy="4159061"/>
            <a:chOff x="0" y="0"/>
            <a:chExt cx="635000" cy="1535372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819FEB"/>
            </a:solidFill>
          </p:spPr>
        </p:sp>
        <p:sp>
          <p:nvSpPr>
            <p:cNvPr id="7" name="TextBox 7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8" name="Group 8"/>
          <p:cNvGrpSpPr>
            <a:grpSpLocks noChangeAspect="1"/>
          </p:cNvGrpSpPr>
          <p:nvPr/>
        </p:nvGrpSpPr>
        <p:grpSpPr>
          <a:xfrm>
            <a:off x="743319" y="2248434"/>
            <a:ext cx="1003198" cy="1003198"/>
            <a:chOff x="0" y="0"/>
            <a:chExt cx="495300" cy="4953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495300" cy="495300"/>
            </a:xfrm>
            <a:custGeom>
              <a:avLst/>
              <a:gdLst/>
              <a:ahLst/>
              <a:cxnLst/>
              <a:rect l="l" t="t" r="r" b="b"/>
              <a:pathLst>
                <a:path w="495300" h="495300">
                  <a:moveTo>
                    <a:pt x="247650" y="0"/>
                  </a:moveTo>
                  <a:cubicBezTo>
                    <a:pt x="110490" y="0"/>
                    <a:pt x="0" y="110490"/>
                    <a:pt x="0" y="247650"/>
                  </a:cubicBezTo>
                  <a:cubicBezTo>
                    <a:pt x="0" y="384810"/>
                    <a:pt x="110490" y="495300"/>
                    <a:pt x="247650" y="495300"/>
                  </a:cubicBezTo>
                  <a:cubicBezTo>
                    <a:pt x="383540" y="495300"/>
                    <a:pt x="495300" y="384810"/>
                    <a:pt x="495300" y="247650"/>
                  </a:cubicBezTo>
                  <a:cubicBezTo>
                    <a:pt x="495300" y="110490"/>
                    <a:pt x="383540" y="0"/>
                    <a:pt x="247650" y="0"/>
                  </a:cubicBezTo>
                  <a:close/>
                  <a:moveTo>
                    <a:pt x="247650" y="457200"/>
                  </a:moveTo>
                  <a:cubicBezTo>
                    <a:pt x="132080" y="457200"/>
                    <a:pt x="38100" y="363220"/>
                    <a:pt x="38100" y="247650"/>
                  </a:cubicBezTo>
                  <a:cubicBezTo>
                    <a:pt x="38100" y="132080"/>
                    <a:pt x="132080" y="38100"/>
                    <a:pt x="247650" y="38100"/>
                  </a:cubicBezTo>
                  <a:cubicBezTo>
                    <a:pt x="363220" y="38100"/>
                    <a:pt x="457200" y="132080"/>
                    <a:pt x="457200" y="247650"/>
                  </a:cubicBezTo>
                  <a:cubicBezTo>
                    <a:pt x="457200" y="363220"/>
                    <a:pt x="363220" y="457200"/>
                    <a:pt x="247650" y="457200"/>
                  </a:cubicBezTo>
                  <a:close/>
                </a:path>
              </a:pathLst>
            </a:custGeom>
            <a:solidFill>
              <a:srgbClr val="819FEB"/>
            </a:solidFill>
          </p:spPr>
        </p:sp>
        <p:sp>
          <p:nvSpPr>
            <p:cNvPr id="10" name="Freeform 10"/>
            <p:cNvSpPr/>
            <p:nvPr/>
          </p:nvSpPr>
          <p:spPr>
            <a:xfrm>
              <a:off x="38100" y="38100"/>
              <a:ext cx="419100" cy="419100"/>
            </a:xfrm>
            <a:custGeom>
              <a:avLst/>
              <a:gdLst/>
              <a:ahLst/>
              <a:cxnLst/>
              <a:rect l="l" t="t" r="r" b="b"/>
              <a:pathLst>
                <a:path w="419100" h="419100">
                  <a:moveTo>
                    <a:pt x="209550" y="0"/>
                  </a:moveTo>
                  <a:cubicBezTo>
                    <a:pt x="93980" y="0"/>
                    <a:pt x="0" y="93980"/>
                    <a:pt x="0" y="209550"/>
                  </a:cubicBezTo>
                  <a:cubicBezTo>
                    <a:pt x="0" y="325120"/>
                    <a:pt x="93980" y="419100"/>
                    <a:pt x="209550" y="419100"/>
                  </a:cubicBezTo>
                  <a:cubicBezTo>
                    <a:pt x="325120" y="419100"/>
                    <a:pt x="419100" y="325120"/>
                    <a:pt x="419100" y="209550"/>
                  </a:cubicBezTo>
                  <a:cubicBezTo>
                    <a:pt x="419100" y="93980"/>
                    <a:pt x="325120" y="0"/>
                    <a:pt x="209550" y="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sp>
        <p:nvSpPr>
          <p:cNvPr id="11" name="TextBox 11"/>
          <p:cNvSpPr txBox="1"/>
          <p:nvPr/>
        </p:nvSpPr>
        <p:spPr>
          <a:xfrm>
            <a:off x="1580850" y="2027592"/>
            <a:ext cx="3336797" cy="29283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2169"/>
              </a:lnSpc>
              <a:spcBef>
                <a:spcPct val="0"/>
              </a:spcBef>
            </a:pPr>
            <a:r>
              <a:rPr lang="en-US" sz="2400" b="1" spc="49">
                <a:solidFill>
                  <a:srgbClr val="FFFFFF"/>
                </a:solidFill>
                <a:latin typeface="Barlow Semi-Bold"/>
              </a:rPr>
              <a:t>Sustainability Plan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883810" y="2528635"/>
            <a:ext cx="614089" cy="4576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981"/>
              </a:lnSpc>
            </a:pPr>
            <a:r>
              <a:rPr lang="en-US" sz="2843" spc="119">
                <a:solidFill>
                  <a:srgbClr val="819FEB"/>
                </a:solidFill>
                <a:latin typeface="Barlow Bold"/>
              </a:rPr>
              <a:t>01</a:t>
            </a:r>
          </a:p>
        </p:txBody>
      </p:sp>
      <p:grpSp>
        <p:nvGrpSpPr>
          <p:cNvPr id="13" name="Group 13"/>
          <p:cNvGrpSpPr/>
          <p:nvPr/>
        </p:nvGrpSpPr>
        <p:grpSpPr>
          <a:xfrm rot="16200000">
            <a:off x="8379894" y="643080"/>
            <a:ext cx="1825761" cy="4476981"/>
            <a:chOff x="0" y="-38100"/>
            <a:chExt cx="635000" cy="1569989"/>
          </a:xfrm>
        </p:grpSpPr>
        <p:sp>
          <p:nvSpPr>
            <p:cNvPr id="14" name="Freeform 14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FFFFFF"/>
            </a:solidFill>
            <a:ln w="47625" cap="sq">
              <a:solidFill>
                <a:srgbClr val="0CC0DF"/>
              </a:solidFill>
              <a:prstDash val="solid"/>
              <a:miter/>
            </a:ln>
          </p:spPr>
        </p:sp>
        <p:sp>
          <p:nvSpPr>
            <p:cNvPr id="15" name="TextBox 15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6" name="Group 16"/>
          <p:cNvGrpSpPr/>
          <p:nvPr/>
        </p:nvGrpSpPr>
        <p:grpSpPr>
          <a:xfrm rot="16200000">
            <a:off x="8421790" y="2919456"/>
            <a:ext cx="1815322" cy="4466307"/>
            <a:chOff x="0" y="-38100"/>
            <a:chExt cx="635000" cy="1569989"/>
          </a:xfrm>
        </p:grpSpPr>
        <p:sp>
          <p:nvSpPr>
            <p:cNvPr id="17" name="Freeform 17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FFFFFF"/>
            </a:solidFill>
            <a:ln w="47625" cap="sq">
              <a:solidFill>
                <a:srgbClr val="132572"/>
              </a:solidFill>
              <a:prstDash val="solid"/>
              <a:miter/>
            </a:ln>
          </p:spPr>
        </p:sp>
        <p:sp>
          <p:nvSpPr>
            <p:cNvPr id="18" name="TextBox 18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9" name="Group 19"/>
          <p:cNvGrpSpPr/>
          <p:nvPr/>
        </p:nvGrpSpPr>
        <p:grpSpPr>
          <a:xfrm rot="16200000">
            <a:off x="8230249" y="566126"/>
            <a:ext cx="1867513" cy="4427693"/>
            <a:chOff x="0" y="-38100"/>
            <a:chExt cx="635000" cy="1569989"/>
          </a:xfrm>
        </p:grpSpPr>
        <p:sp>
          <p:nvSpPr>
            <p:cNvPr id="20" name="Freeform 20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0CC0DF"/>
            </a:solidFill>
          </p:spPr>
        </p:sp>
        <p:sp>
          <p:nvSpPr>
            <p:cNvPr id="21" name="TextBox 21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22" name="Group 22"/>
          <p:cNvGrpSpPr>
            <a:grpSpLocks noChangeAspect="1"/>
          </p:cNvGrpSpPr>
          <p:nvPr/>
        </p:nvGrpSpPr>
        <p:grpSpPr>
          <a:xfrm>
            <a:off x="6360404" y="2227556"/>
            <a:ext cx="1003198" cy="1003198"/>
            <a:chOff x="0" y="0"/>
            <a:chExt cx="495300" cy="495300"/>
          </a:xfrm>
        </p:grpSpPr>
        <p:sp>
          <p:nvSpPr>
            <p:cNvPr id="23" name="Freeform 23"/>
            <p:cNvSpPr/>
            <p:nvPr/>
          </p:nvSpPr>
          <p:spPr>
            <a:xfrm>
              <a:off x="0" y="0"/>
              <a:ext cx="495300" cy="495300"/>
            </a:xfrm>
            <a:custGeom>
              <a:avLst/>
              <a:gdLst/>
              <a:ahLst/>
              <a:cxnLst/>
              <a:rect l="l" t="t" r="r" b="b"/>
              <a:pathLst>
                <a:path w="495300" h="495300">
                  <a:moveTo>
                    <a:pt x="247650" y="0"/>
                  </a:moveTo>
                  <a:cubicBezTo>
                    <a:pt x="110490" y="0"/>
                    <a:pt x="0" y="110490"/>
                    <a:pt x="0" y="247650"/>
                  </a:cubicBezTo>
                  <a:cubicBezTo>
                    <a:pt x="0" y="384810"/>
                    <a:pt x="110490" y="495300"/>
                    <a:pt x="247650" y="495300"/>
                  </a:cubicBezTo>
                  <a:cubicBezTo>
                    <a:pt x="383540" y="495300"/>
                    <a:pt x="495300" y="384810"/>
                    <a:pt x="495300" y="247650"/>
                  </a:cubicBezTo>
                  <a:cubicBezTo>
                    <a:pt x="495300" y="110490"/>
                    <a:pt x="383540" y="0"/>
                    <a:pt x="247650" y="0"/>
                  </a:cubicBezTo>
                  <a:close/>
                  <a:moveTo>
                    <a:pt x="247650" y="457200"/>
                  </a:moveTo>
                  <a:cubicBezTo>
                    <a:pt x="132080" y="457200"/>
                    <a:pt x="38100" y="363220"/>
                    <a:pt x="38100" y="247650"/>
                  </a:cubicBezTo>
                  <a:cubicBezTo>
                    <a:pt x="38100" y="132080"/>
                    <a:pt x="132080" y="38100"/>
                    <a:pt x="247650" y="38100"/>
                  </a:cubicBezTo>
                  <a:cubicBezTo>
                    <a:pt x="363220" y="38100"/>
                    <a:pt x="457200" y="132080"/>
                    <a:pt x="457200" y="247650"/>
                  </a:cubicBezTo>
                  <a:cubicBezTo>
                    <a:pt x="457200" y="363220"/>
                    <a:pt x="363220" y="457200"/>
                    <a:pt x="247650" y="457200"/>
                  </a:cubicBezTo>
                  <a:close/>
                </a:path>
              </a:pathLst>
            </a:custGeom>
            <a:solidFill>
              <a:srgbClr val="0CC0DF"/>
            </a:solidFill>
          </p:spPr>
        </p:sp>
        <p:sp>
          <p:nvSpPr>
            <p:cNvPr id="24" name="Freeform 24"/>
            <p:cNvSpPr/>
            <p:nvPr/>
          </p:nvSpPr>
          <p:spPr>
            <a:xfrm>
              <a:off x="38100" y="38100"/>
              <a:ext cx="419100" cy="419100"/>
            </a:xfrm>
            <a:custGeom>
              <a:avLst/>
              <a:gdLst/>
              <a:ahLst/>
              <a:cxnLst/>
              <a:rect l="l" t="t" r="r" b="b"/>
              <a:pathLst>
                <a:path w="419100" h="419100">
                  <a:moveTo>
                    <a:pt x="209550" y="0"/>
                  </a:moveTo>
                  <a:cubicBezTo>
                    <a:pt x="93980" y="0"/>
                    <a:pt x="0" y="93980"/>
                    <a:pt x="0" y="209550"/>
                  </a:cubicBezTo>
                  <a:cubicBezTo>
                    <a:pt x="0" y="325120"/>
                    <a:pt x="93980" y="419100"/>
                    <a:pt x="209550" y="419100"/>
                  </a:cubicBezTo>
                  <a:cubicBezTo>
                    <a:pt x="325120" y="419100"/>
                    <a:pt x="419100" y="325120"/>
                    <a:pt x="419100" y="209550"/>
                  </a:cubicBezTo>
                  <a:cubicBezTo>
                    <a:pt x="419100" y="93980"/>
                    <a:pt x="325120" y="0"/>
                    <a:pt x="209550" y="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sp>
        <p:nvSpPr>
          <p:cNvPr id="25" name="TextBox 25"/>
          <p:cNvSpPr txBox="1"/>
          <p:nvPr/>
        </p:nvSpPr>
        <p:spPr>
          <a:xfrm>
            <a:off x="7341859" y="2056348"/>
            <a:ext cx="3535126" cy="29283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2169"/>
              </a:lnSpc>
              <a:spcBef>
                <a:spcPct val="0"/>
              </a:spcBef>
            </a:pPr>
            <a:r>
              <a:rPr lang="en-US" sz="2400" b="1" spc="49">
                <a:solidFill>
                  <a:srgbClr val="FFFFFF"/>
                </a:solidFill>
                <a:latin typeface="Barlow Semi-Bold"/>
              </a:rPr>
              <a:t>Stratified Data Review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7425366" y="2405469"/>
            <a:ext cx="3649948" cy="8848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99"/>
              </a:lnSpc>
            </a:pPr>
            <a:r>
              <a:rPr lang="en-US" sz="2000" spc="79">
                <a:solidFill>
                  <a:srgbClr val="FFFFFF"/>
                </a:solidFill>
                <a:latin typeface="Barlow SemiCondensed"/>
              </a:rPr>
              <a:t>Review your data by race, ethnicity and insurance status and take action on disparities ​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6553087" y="2507758"/>
            <a:ext cx="614089" cy="4576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981"/>
              </a:lnSpc>
            </a:pPr>
            <a:r>
              <a:rPr lang="en-US" sz="2800" spc="119">
                <a:solidFill>
                  <a:srgbClr val="0CC0DF"/>
                </a:solidFill>
                <a:latin typeface="Barlow Bold"/>
              </a:rPr>
              <a:t>03</a:t>
            </a:r>
            <a:endParaRPr lang="en-US" sz="2843" spc="119">
              <a:solidFill>
                <a:srgbClr val="0CC0DF"/>
              </a:solidFill>
              <a:latin typeface="Barlow Bold"/>
            </a:endParaRPr>
          </a:p>
        </p:txBody>
      </p:sp>
      <p:grpSp>
        <p:nvGrpSpPr>
          <p:cNvPr id="28" name="Group 28"/>
          <p:cNvGrpSpPr/>
          <p:nvPr/>
        </p:nvGrpSpPr>
        <p:grpSpPr>
          <a:xfrm rot="16200000">
            <a:off x="2646914" y="2920280"/>
            <a:ext cx="1825761" cy="4391590"/>
            <a:chOff x="0" y="-38100"/>
            <a:chExt cx="635000" cy="1569989"/>
          </a:xfrm>
        </p:grpSpPr>
        <p:sp>
          <p:nvSpPr>
            <p:cNvPr id="29" name="Freeform 29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FFFFFF"/>
            </a:solidFill>
            <a:ln w="47625" cap="sq">
              <a:solidFill>
                <a:srgbClr val="419CAA"/>
              </a:solidFill>
              <a:prstDash val="solid"/>
              <a:miter/>
            </a:ln>
          </p:spPr>
        </p:sp>
        <p:sp>
          <p:nvSpPr>
            <p:cNvPr id="30" name="TextBox 30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31" name="Group 31"/>
          <p:cNvGrpSpPr/>
          <p:nvPr/>
        </p:nvGrpSpPr>
        <p:grpSpPr>
          <a:xfrm rot="16200000">
            <a:off x="2526264" y="2789955"/>
            <a:ext cx="1825761" cy="4391590"/>
            <a:chOff x="0" y="-38100"/>
            <a:chExt cx="635000" cy="1569989"/>
          </a:xfrm>
        </p:grpSpPr>
        <p:sp>
          <p:nvSpPr>
            <p:cNvPr id="32" name="Freeform 32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419CAA"/>
            </a:solidFill>
          </p:spPr>
        </p:sp>
        <p:sp>
          <p:nvSpPr>
            <p:cNvPr id="33" name="TextBox 33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34" name="Group 34"/>
          <p:cNvGrpSpPr>
            <a:grpSpLocks noChangeAspect="1"/>
          </p:cNvGrpSpPr>
          <p:nvPr/>
        </p:nvGrpSpPr>
        <p:grpSpPr>
          <a:xfrm>
            <a:off x="753757" y="4506405"/>
            <a:ext cx="1003198" cy="1003198"/>
            <a:chOff x="0" y="0"/>
            <a:chExt cx="495300" cy="495300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495300" cy="495300"/>
            </a:xfrm>
            <a:custGeom>
              <a:avLst/>
              <a:gdLst/>
              <a:ahLst/>
              <a:cxnLst/>
              <a:rect l="l" t="t" r="r" b="b"/>
              <a:pathLst>
                <a:path w="495300" h="495300">
                  <a:moveTo>
                    <a:pt x="247650" y="0"/>
                  </a:moveTo>
                  <a:cubicBezTo>
                    <a:pt x="110490" y="0"/>
                    <a:pt x="0" y="110490"/>
                    <a:pt x="0" y="247650"/>
                  </a:cubicBezTo>
                  <a:cubicBezTo>
                    <a:pt x="0" y="384810"/>
                    <a:pt x="110490" y="495300"/>
                    <a:pt x="247650" y="495300"/>
                  </a:cubicBezTo>
                  <a:cubicBezTo>
                    <a:pt x="383540" y="495300"/>
                    <a:pt x="495300" y="384810"/>
                    <a:pt x="495300" y="247650"/>
                  </a:cubicBezTo>
                  <a:cubicBezTo>
                    <a:pt x="495300" y="110490"/>
                    <a:pt x="383540" y="0"/>
                    <a:pt x="247650" y="0"/>
                  </a:cubicBezTo>
                  <a:close/>
                  <a:moveTo>
                    <a:pt x="247650" y="457200"/>
                  </a:moveTo>
                  <a:cubicBezTo>
                    <a:pt x="132080" y="457200"/>
                    <a:pt x="38100" y="363220"/>
                    <a:pt x="38100" y="247650"/>
                  </a:cubicBezTo>
                  <a:cubicBezTo>
                    <a:pt x="38100" y="132080"/>
                    <a:pt x="132080" y="38100"/>
                    <a:pt x="247650" y="38100"/>
                  </a:cubicBezTo>
                  <a:cubicBezTo>
                    <a:pt x="363220" y="38100"/>
                    <a:pt x="457200" y="132080"/>
                    <a:pt x="457200" y="247650"/>
                  </a:cubicBezTo>
                  <a:cubicBezTo>
                    <a:pt x="457200" y="363220"/>
                    <a:pt x="363220" y="457200"/>
                    <a:pt x="247650" y="457200"/>
                  </a:cubicBezTo>
                  <a:close/>
                </a:path>
              </a:pathLst>
            </a:custGeom>
            <a:solidFill>
              <a:srgbClr val="419CAA"/>
            </a:solidFill>
          </p:spPr>
        </p:sp>
        <p:sp>
          <p:nvSpPr>
            <p:cNvPr id="36" name="Freeform 36"/>
            <p:cNvSpPr/>
            <p:nvPr/>
          </p:nvSpPr>
          <p:spPr>
            <a:xfrm>
              <a:off x="38100" y="38100"/>
              <a:ext cx="419100" cy="419100"/>
            </a:xfrm>
            <a:custGeom>
              <a:avLst/>
              <a:gdLst/>
              <a:ahLst/>
              <a:cxnLst/>
              <a:rect l="l" t="t" r="r" b="b"/>
              <a:pathLst>
                <a:path w="419100" h="419100">
                  <a:moveTo>
                    <a:pt x="209550" y="0"/>
                  </a:moveTo>
                  <a:cubicBezTo>
                    <a:pt x="93980" y="0"/>
                    <a:pt x="0" y="93980"/>
                    <a:pt x="0" y="209550"/>
                  </a:cubicBezTo>
                  <a:cubicBezTo>
                    <a:pt x="0" y="325120"/>
                    <a:pt x="93980" y="419100"/>
                    <a:pt x="209550" y="419100"/>
                  </a:cubicBezTo>
                  <a:cubicBezTo>
                    <a:pt x="325120" y="419100"/>
                    <a:pt x="419100" y="325120"/>
                    <a:pt x="419100" y="209550"/>
                  </a:cubicBezTo>
                  <a:cubicBezTo>
                    <a:pt x="419100" y="93980"/>
                    <a:pt x="325120" y="0"/>
                    <a:pt x="209550" y="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sp>
        <p:nvSpPr>
          <p:cNvPr id="37" name="TextBox 37"/>
          <p:cNvSpPr txBox="1"/>
          <p:nvPr/>
        </p:nvSpPr>
        <p:spPr>
          <a:xfrm>
            <a:off x="1583916" y="4262827"/>
            <a:ext cx="3834490" cy="29283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2169"/>
              </a:lnSpc>
              <a:spcBef>
                <a:spcPct val="0"/>
              </a:spcBef>
            </a:pPr>
            <a:r>
              <a:rPr lang="en-US" sz="2400" b="1" spc="49">
                <a:solidFill>
                  <a:srgbClr val="FFFFFF"/>
                </a:solidFill>
                <a:latin typeface="Barlow Semi-Bold"/>
              </a:rPr>
              <a:t>Sustainability Webinars</a:t>
            </a:r>
          </a:p>
        </p:txBody>
      </p:sp>
      <p:sp>
        <p:nvSpPr>
          <p:cNvPr id="38" name="TextBox 38"/>
          <p:cNvSpPr txBox="1"/>
          <p:nvPr/>
        </p:nvSpPr>
        <p:spPr>
          <a:xfrm>
            <a:off x="1851460" y="4713239"/>
            <a:ext cx="3140635" cy="58990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300"/>
              </a:lnSpc>
              <a:spcBef>
                <a:spcPct val="0"/>
              </a:spcBef>
            </a:pPr>
            <a:r>
              <a:rPr lang="en-US" sz="2000" spc="79" dirty="0">
                <a:solidFill>
                  <a:srgbClr val="FFFFFF"/>
                </a:solidFill>
                <a:latin typeface="Barlow SemiCondensed"/>
              </a:rPr>
              <a:t>Attend Quarterly Sustainability Webinars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883810" y="4776168"/>
            <a:ext cx="614089" cy="4576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981"/>
              </a:lnSpc>
            </a:pPr>
            <a:r>
              <a:rPr lang="en-US" sz="2843" spc="119">
                <a:solidFill>
                  <a:srgbClr val="419CAA"/>
                </a:solidFill>
                <a:latin typeface="Barlow Bold"/>
              </a:rPr>
              <a:t>02</a:t>
            </a:r>
          </a:p>
        </p:txBody>
      </p:sp>
      <p:grpSp>
        <p:nvGrpSpPr>
          <p:cNvPr id="40" name="Group 40"/>
          <p:cNvGrpSpPr/>
          <p:nvPr/>
        </p:nvGrpSpPr>
        <p:grpSpPr>
          <a:xfrm rot="16200000">
            <a:off x="8278061" y="2789131"/>
            <a:ext cx="1815322" cy="4466307"/>
            <a:chOff x="0" y="-38100"/>
            <a:chExt cx="635000" cy="1569989"/>
          </a:xfrm>
        </p:grpSpPr>
        <p:sp>
          <p:nvSpPr>
            <p:cNvPr id="41" name="Freeform 41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132572"/>
            </a:solidFill>
          </p:spPr>
        </p:sp>
        <p:sp>
          <p:nvSpPr>
            <p:cNvPr id="42" name="TextBox 42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43" name="Group 43"/>
          <p:cNvGrpSpPr>
            <a:grpSpLocks noChangeAspect="1"/>
          </p:cNvGrpSpPr>
          <p:nvPr/>
        </p:nvGrpSpPr>
        <p:grpSpPr>
          <a:xfrm>
            <a:off x="6454350" y="4527281"/>
            <a:ext cx="1003198" cy="1003198"/>
            <a:chOff x="0" y="0"/>
            <a:chExt cx="495300" cy="495300"/>
          </a:xfrm>
        </p:grpSpPr>
        <p:sp>
          <p:nvSpPr>
            <p:cNvPr id="44" name="Freeform 44"/>
            <p:cNvSpPr/>
            <p:nvPr/>
          </p:nvSpPr>
          <p:spPr>
            <a:xfrm>
              <a:off x="0" y="0"/>
              <a:ext cx="495300" cy="495300"/>
            </a:xfrm>
            <a:custGeom>
              <a:avLst/>
              <a:gdLst/>
              <a:ahLst/>
              <a:cxnLst/>
              <a:rect l="l" t="t" r="r" b="b"/>
              <a:pathLst>
                <a:path w="495300" h="495300">
                  <a:moveTo>
                    <a:pt x="247650" y="0"/>
                  </a:moveTo>
                  <a:cubicBezTo>
                    <a:pt x="110490" y="0"/>
                    <a:pt x="0" y="110490"/>
                    <a:pt x="0" y="247650"/>
                  </a:cubicBezTo>
                  <a:cubicBezTo>
                    <a:pt x="0" y="384810"/>
                    <a:pt x="110490" y="495300"/>
                    <a:pt x="247650" y="495300"/>
                  </a:cubicBezTo>
                  <a:cubicBezTo>
                    <a:pt x="383540" y="495300"/>
                    <a:pt x="495300" y="384810"/>
                    <a:pt x="495300" y="247650"/>
                  </a:cubicBezTo>
                  <a:cubicBezTo>
                    <a:pt x="495300" y="110490"/>
                    <a:pt x="383540" y="0"/>
                    <a:pt x="247650" y="0"/>
                  </a:cubicBezTo>
                  <a:close/>
                  <a:moveTo>
                    <a:pt x="247650" y="457200"/>
                  </a:moveTo>
                  <a:cubicBezTo>
                    <a:pt x="132080" y="457200"/>
                    <a:pt x="38100" y="363220"/>
                    <a:pt x="38100" y="247650"/>
                  </a:cubicBezTo>
                  <a:cubicBezTo>
                    <a:pt x="38100" y="132080"/>
                    <a:pt x="132080" y="38100"/>
                    <a:pt x="247650" y="38100"/>
                  </a:cubicBezTo>
                  <a:cubicBezTo>
                    <a:pt x="363220" y="38100"/>
                    <a:pt x="457200" y="132080"/>
                    <a:pt x="457200" y="247650"/>
                  </a:cubicBezTo>
                  <a:cubicBezTo>
                    <a:pt x="457200" y="363220"/>
                    <a:pt x="363220" y="457200"/>
                    <a:pt x="247650" y="457200"/>
                  </a:cubicBezTo>
                  <a:close/>
                </a:path>
              </a:pathLst>
            </a:custGeom>
            <a:solidFill>
              <a:srgbClr val="132572"/>
            </a:solidFill>
          </p:spPr>
        </p:sp>
        <p:sp>
          <p:nvSpPr>
            <p:cNvPr id="45" name="Freeform 45"/>
            <p:cNvSpPr/>
            <p:nvPr/>
          </p:nvSpPr>
          <p:spPr>
            <a:xfrm>
              <a:off x="38100" y="38100"/>
              <a:ext cx="419100" cy="419100"/>
            </a:xfrm>
            <a:custGeom>
              <a:avLst/>
              <a:gdLst/>
              <a:ahLst/>
              <a:cxnLst/>
              <a:rect l="l" t="t" r="r" b="b"/>
              <a:pathLst>
                <a:path w="419100" h="419100">
                  <a:moveTo>
                    <a:pt x="209550" y="0"/>
                  </a:moveTo>
                  <a:cubicBezTo>
                    <a:pt x="93980" y="0"/>
                    <a:pt x="0" y="93980"/>
                    <a:pt x="0" y="209550"/>
                  </a:cubicBezTo>
                  <a:cubicBezTo>
                    <a:pt x="0" y="325120"/>
                    <a:pt x="93980" y="419100"/>
                    <a:pt x="209550" y="419100"/>
                  </a:cubicBezTo>
                  <a:cubicBezTo>
                    <a:pt x="325120" y="419100"/>
                    <a:pt x="419100" y="325120"/>
                    <a:pt x="419100" y="209550"/>
                  </a:cubicBezTo>
                  <a:cubicBezTo>
                    <a:pt x="419100" y="93980"/>
                    <a:pt x="325120" y="0"/>
                    <a:pt x="209550" y="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sp>
        <p:nvSpPr>
          <p:cNvPr id="46" name="TextBox 46"/>
          <p:cNvSpPr txBox="1"/>
          <p:nvPr/>
        </p:nvSpPr>
        <p:spPr>
          <a:xfrm>
            <a:off x="7386023" y="4294543"/>
            <a:ext cx="3503811" cy="29283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2169"/>
              </a:lnSpc>
              <a:spcBef>
                <a:spcPct val="0"/>
              </a:spcBef>
            </a:pPr>
            <a:r>
              <a:rPr lang="en-US" sz="2400" b="1" spc="49">
                <a:solidFill>
                  <a:srgbClr val="FFFFFF"/>
                </a:solidFill>
                <a:latin typeface="Barlow Semi-Bold"/>
              </a:rPr>
              <a:t>Team Sharing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7494347" y="4713998"/>
            <a:ext cx="3497461" cy="8848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91"/>
              </a:lnSpc>
              <a:spcBef>
                <a:spcPct val="0"/>
              </a:spcBef>
            </a:pPr>
            <a:r>
              <a:rPr lang="en-US" sz="2000" spc="79">
                <a:solidFill>
                  <a:srgbClr val="FFFFFF"/>
                </a:solidFill>
                <a:latin typeface="Barlow SemiCondensed"/>
              </a:rPr>
              <a:t>Share successful strategies for sustaining PVB work on quarterly calls 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6647032" y="4786607"/>
            <a:ext cx="614089" cy="4576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981"/>
              </a:lnSpc>
            </a:pPr>
            <a:r>
              <a:rPr lang="en-US" sz="2800" spc="119">
                <a:solidFill>
                  <a:srgbClr val="132572"/>
                </a:solidFill>
                <a:latin typeface="Barlow Bold"/>
              </a:rPr>
              <a:t>04</a:t>
            </a:r>
            <a:endParaRPr lang="en-US" sz="2843" spc="119">
              <a:solidFill>
                <a:srgbClr val="132572"/>
              </a:solidFill>
              <a:latin typeface="Barlow Bold"/>
            </a:endParaRPr>
          </a:p>
        </p:txBody>
      </p:sp>
      <p:sp>
        <p:nvSpPr>
          <p:cNvPr id="60" name="TextBox 60"/>
          <p:cNvSpPr txBox="1"/>
          <p:nvPr/>
        </p:nvSpPr>
        <p:spPr>
          <a:xfrm>
            <a:off x="1759495" y="2376714"/>
            <a:ext cx="3592025" cy="11798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91"/>
              </a:lnSpc>
              <a:spcBef>
                <a:spcPct val="0"/>
              </a:spcBef>
            </a:pPr>
            <a:r>
              <a:rPr lang="en-US" sz="2000" spc="79">
                <a:solidFill>
                  <a:srgbClr val="FFFFFF"/>
                </a:solidFill>
                <a:latin typeface="Barlow SemiCondensed"/>
              </a:rPr>
              <a:t>Meet with your PVB QI team to draft your sustainability plan and submit to ILPQC and your PNA</a:t>
            </a:r>
          </a:p>
        </p:txBody>
      </p:sp>
      <p:sp>
        <p:nvSpPr>
          <p:cNvPr id="61" name="Title 60">
            <a:extLst>
              <a:ext uri="{FF2B5EF4-FFF2-40B4-BE49-F238E27FC236}">
                <a16:creationId xmlns:a16="http://schemas.microsoft.com/office/drawing/2014/main" id="{B558532D-77AA-D7D7-F518-07AE563D8C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052" y="103398"/>
            <a:ext cx="7204062" cy="1325563"/>
          </a:xfrm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PVB Teams moving to sustainability in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00906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7800" y="136525"/>
            <a:ext cx="7759700" cy="1325563"/>
          </a:xfrm>
        </p:spPr>
        <p:txBody>
          <a:bodyPr/>
          <a:lstStyle/>
          <a:p>
            <a:r>
              <a:rPr lang="en-US" dirty="0"/>
              <a:t>PVB Teams participating in Coaching Groups in 2024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55725"/>
            <a:ext cx="10972800" cy="4351338"/>
          </a:xfrm>
        </p:spPr>
        <p:txBody>
          <a:bodyPr/>
          <a:lstStyle/>
          <a:p>
            <a:r>
              <a:rPr lang="en-US" dirty="0"/>
              <a:t>You should have received an email last week regarding your hospitals next steps for 2024 and to alert you if your team has been chosen to a part of the 2024 PVB Coaching Groups</a:t>
            </a:r>
          </a:p>
          <a:p>
            <a:r>
              <a:rPr lang="en-US" dirty="0"/>
              <a:t>We have reviewed NTSV C-Section Rates for 2023 as well as patterns over the last 3 years to identify which teams can benefit from this exciting opportunity.</a:t>
            </a:r>
          </a:p>
          <a:p>
            <a:r>
              <a:rPr lang="en-US" dirty="0"/>
              <a:t>We will be reaching out to teams on 12/13 with their assigned coaching group</a:t>
            </a:r>
          </a:p>
          <a:p>
            <a:r>
              <a:rPr lang="en-US" dirty="0"/>
              <a:t>Please identify a provider champion and nursing champion to attend the quarterly coaching calls.  Groups will schedule meeting times to optimize availability of teams</a:t>
            </a:r>
          </a:p>
          <a:p>
            <a:r>
              <a:rPr lang="en-US" dirty="0"/>
              <a:t>Coaching group quarterly calls will start in early 2024</a:t>
            </a:r>
          </a:p>
          <a:p>
            <a:r>
              <a:rPr lang="en-US" dirty="0"/>
              <a:t>Key player meetings scheduling for each hospital will start in 2</a:t>
            </a:r>
            <a:r>
              <a:rPr lang="en-US" baseline="30000" dirty="0"/>
              <a:t>nd</a:t>
            </a:r>
            <a:r>
              <a:rPr lang="en-US" dirty="0"/>
              <a:t> quarter 202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6593050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/>
          <p:nvPr/>
        </p:nvGrpSpPr>
        <p:grpSpPr>
          <a:xfrm>
            <a:off x="2177839" y="1558360"/>
            <a:ext cx="8980018" cy="1556079"/>
            <a:chOff x="0" y="-38100"/>
            <a:chExt cx="1712688" cy="47959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1712688" cy="441495"/>
            </a:xfrm>
            <a:custGeom>
              <a:avLst/>
              <a:gdLst/>
              <a:ahLst/>
              <a:cxnLst/>
              <a:rect l="l" t="t" r="r" b="b"/>
              <a:pathLst>
                <a:path w="1712688" h="441495">
                  <a:moveTo>
                    <a:pt x="17195" y="0"/>
                  </a:moveTo>
                  <a:lnTo>
                    <a:pt x="1695492" y="0"/>
                  </a:lnTo>
                  <a:cubicBezTo>
                    <a:pt x="1704989" y="0"/>
                    <a:pt x="1712688" y="7699"/>
                    <a:pt x="1712688" y="17195"/>
                  </a:cubicBezTo>
                  <a:lnTo>
                    <a:pt x="1712688" y="424300"/>
                  </a:lnTo>
                  <a:cubicBezTo>
                    <a:pt x="1712688" y="433796"/>
                    <a:pt x="1704989" y="441495"/>
                    <a:pt x="1695492" y="441495"/>
                  </a:cubicBezTo>
                  <a:lnTo>
                    <a:pt x="17195" y="441495"/>
                  </a:lnTo>
                  <a:cubicBezTo>
                    <a:pt x="7699" y="441495"/>
                    <a:pt x="0" y="433796"/>
                    <a:pt x="0" y="424300"/>
                  </a:cubicBezTo>
                  <a:lnTo>
                    <a:pt x="0" y="17195"/>
                  </a:lnTo>
                  <a:cubicBezTo>
                    <a:pt x="0" y="7699"/>
                    <a:pt x="7699" y="0"/>
                    <a:pt x="17195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F5668F"/>
              </a:solidFill>
              <a:prstDash val="solid"/>
              <a:miter/>
            </a:ln>
          </p:spPr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1712688" cy="47959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2466523" y="1872164"/>
            <a:ext cx="999395" cy="1046242"/>
            <a:chOff x="0" y="-38100"/>
            <a:chExt cx="812800" cy="850900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77466" y="0"/>
                  </a:moveTo>
                  <a:lnTo>
                    <a:pt x="735334" y="0"/>
                  </a:lnTo>
                  <a:cubicBezTo>
                    <a:pt x="755879" y="0"/>
                    <a:pt x="775583" y="8162"/>
                    <a:pt x="790111" y="22689"/>
                  </a:cubicBezTo>
                  <a:cubicBezTo>
                    <a:pt x="804638" y="37217"/>
                    <a:pt x="812800" y="56921"/>
                    <a:pt x="812800" y="77466"/>
                  </a:cubicBezTo>
                  <a:lnTo>
                    <a:pt x="812800" y="735334"/>
                  </a:lnTo>
                  <a:cubicBezTo>
                    <a:pt x="812800" y="755879"/>
                    <a:pt x="804638" y="775583"/>
                    <a:pt x="790111" y="790111"/>
                  </a:cubicBezTo>
                  <a:cubicBezTo>
                    <a:pt x="775583" y="804638"/>
                    <a:pt x="755879" y="812800"/>
                    <a:pt x="735334" y="812800"/>
                  </a:cubicBezTo>
                  <a:lnTo>
                    <a:pt x="77466" y="812800"/>
                  </a:lnTo>
                  <a:cubicBezTo>
                    <a:pt x="56921" y="812800"/>
                    <a:pt x="37217" y="804638"/>
                    <a:pt x="22689" y="790111"/>
                  </a:cubicBezTo>
                  <a:cubicBezTo>
                    <a:pt x="8162" y="775583"/>
                    <a:pt x="0" y="755879"/>
                    <a:pt x="0" y="735334"/>
                  </a:cubicBezTo>
                  <a:lnTo>
                    <a:pt x="0" y="77466"/>
                  </a:lnTo>
                  <a:cubicBezTo>
                    <a:pt x="0" y="56921"/>
                    <a:pt x="8162" y="37217"/>
                    <a:pt x="22689" y="22689"/>
                  </a:cubicBezTo>
                  <a:cubicBezTo>
                    <a:pt x="37217" y="8162"/>
                    <a:pt x="56921" y="0"/>
                    <a:pt x="77466" y="0"/>
                  </a:cubicBezTo>
                  <a:close/>
                </a:path>
              </a:pathLst>
            </a:custGeom>
            <a:solidFill>
              <a:srgbClr val="F5668F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2174235" y="3311601"/>
            <a:ext cx="8980017" cy="1446839"/>
            <a:chOff x="0" y="0"/>
            <a:chExt cx="1712688" cy="441495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1712688" cy="441495"/>
            </a:xfrm>
            <a:custGeom>
              <a:avLst/>
              <a:gdLst/>
              <a:ahLst/>
              <a:cxnLst/>
              <a:rect l="l" t="t" r="r" b="b"/>
              <a:pathLst>
                <a:path w="1712688" h="441495">
                  <a:moveTo>
                    <a:pt x="17195" y="0"/>
                  </a:moveTo>
                  <a:lnTo>
                    <a:pt x="1695492" y="0"/>
                  </a:lnTo>
                  <a:cubicBezTo>
                    <a:pt x="1704989" y="0"/>
                    <a:pt x="1712688" y="7699"/>
                    <a:pt x="1712688" y="17195"/>
                  </a:cubicBezTo>
                  <a:lnTo>
                    <a:pt x="1712688" y="424300"/>
                  </a:lnTo>
                  <a:cubicBezTo>
                    <a:pt x="1712688" y="433796"/>
                    <a:pt x="1704989" y="441495"/>
                    <a:pt x="1695492" y="441495"/>
                  </a:cubicBezTo>
                  <a:lnTo>
                    <a:pt x="17195" y="441495"/>
                  </a:lnTo>
                  <a:cubicBezTo>
                    <a:pt x="7699" y="441495"/>
                    <a:pt x="0" y="433796"/>
                    <a:pt x="0" y="424300"/>
                  </a:cubicBezTo>
                  <a:lnTo>
                    <a:pt x="0" y="17195"/>
                  </a:lnTo>
                  <a:cubicBezTo>
                    <a:pt x="0" y="7699"/>
                    <a:pt x="7699" y="0"/>
                    <a:pt x="17195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F58366"/>
              </a:solidFill>
              <a:prstDash val="solid"/>
              <a:miter/>
            </a:ln>
          </p:spPr>
        </p:sp>
        <p:sp>
          <p:nvSpPr>
            <p:cNvPr id="11" name="TextBox 11"/>
            <p:cNvSpPr txBox="1"/>
            <p:nvPr/>
          </p:nvSpPr>
          <p:spPr>
            <a:xfrm>
              <a:off x="0" y="-38100"/>
              <a:ext cx="1712688" cy="47959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2466524" y="3472451"/>
            <a:ext cx="999395" cy="999395"/>
            <a:chOff x="0" y="0"/>
            <a:chExt cx="812800" cy="81280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77466" y="0"/>
                  </a:moveTo>
                  <a:lnTo>
                    <a:pt x="735334" y="0"/>
                  </a:lnTo>
                  <a:cubicBezTo>
                    <a:pt x="755879" y="0"/>
                    <a:pt x="775583" y="8162"/>
                    <a:pt x="790111" y="22689"/>
                  </a:cubicBezTo>
                  <a:cubicBezTo>
                    <a:pt x="804638" y="37217"/>
                    <a:pt x="812800" y="56921"/>
                    <a:pt x="812800" y="77466"/>
                  </a:cubicBezTo>
                  <a:lnTo>
                    <a:pt x="812800" y="735334"/>
                  </a:lnTo>
                  <a:cubicBezTo>
                    <a:pt x="812800" y="755879"/>
                    <a:pt x="804638" y="775583"/>
                    <a:pt x="790111" y="790111"/>
                  </a:cubicBezTo>
                  <a:cubicBezTo>
                    <a:pt x="775583" y="804638"/>
                    <a:pt x="755879" y="812800"/>
                    <a:pt x="735334" y="812800"/>
                  </a:cubicBezTo>
                  <a:lnTo>
                    <a:pt x="77466" y="812800"/>
                  </a:lnTo>
                  <a:cubicBezTo>
                    <a:pt x="56921" y="812800"/>
                    <a:pt x="37217" y="804638"/>
                    <a:pt x="22689" y="790111"/>
                  </a:cubicBezTo>
                  <a:cubicBezTo>
                    <a:pt x="8162" y="775583"/>
                    <a:pt x="0" y="755879"/>
                    <a:pt x="0" y="735334"/>
                  </a:cubicBezTo>
                  <a:lnTo>
                    <a:pt x="0" y="77466"/>
                  </a:lnTo>
                  <a:cubicBezTo>
                    <a:pt x="0" y="56921"/>
                    <a:pt x="8162" y="37217"/>
                    <a:pt x="22689" y="22689"/>
                  </a:cubicBezTo>
                  <a:cubicBezTo>
                    <a:pt x="37217" y="8162"/>
                    <a:pt x="56921" y="0"/>
                    <a:pt x="77466" y="0"/>
                  </a:cubicBezTo>
                  <a:close/>
                </a:path>
              </a:pathLst>
            </a:custGeom>
            <a:solidFill>
              <a:srgbClr val="F58366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15" name="Freeform 15"/>
          <p:cNvSpPr/>
          <p:nvPr/>
        </p:nvSpPr>
        <p:spPr>
          <a:xfrm>
            <a:off x="2645268" y="3741928"/>
            <a:ext cx="526888" cy="546706"/>
          </a:xfrm>
          <a:custGeom>
            <a:avLst/>
            <a:gdLst/>
            <a:ahLst/>
            <a:cxnLst/>
            <a:rect l="l" t="t" r="r" b="b"/>
            <a:pathLst>
              <a:path w="790332" h="820059">
                <a:moveTo>
                  <a:pt x="0" y="0"/>
                </a:moveTo>
                <a:lnTo>
                  <a:pt x="790332" y="0"/>
                </a:lnTo>
                <a:lnTo>
                  <a:pt x="790332" y="820059"/>
                </a:lnTo>
                <a:lnTo>
                  <a:pt x="0" y="820059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</p:sp>
      <p:grpSp>
        <p:nvGrpSpPr>
          <p:cNvPr id="16" name="Group 16"/>
          <p:cNvGrpSpPr/>
          <p:nvPr/>
        </p:nvGrpSpPr>
        <p:grpSpPr>
          <a:xfrm>
            <a:off x="2174236" y="4883299"/>
            <a:ext cx="8980016" cy="1446838"/>
            <a:chOff x="0" y="0"/>
            <a:chExt cx="1712688" cy="441495"/>
          </a:xfrm>
        </p:grpSpPr>
        <p:sp>
          <p:nvSpPr>
            <p:cNvPr id="17" name="Freeform 17"/>
            <p:cNvSpPr/>
            <p:nvPr/>
          </p:nvSpPr>
          <p:spPr>
            <a:xfrm>
              <a:off x="0" y="0"/>
              <a:ext cx="1712688" cy="441495"/>
            </a:xfrm>
            <a:custGeom>
              <a:avLst/>
              <a:gdLst/>
              <a:ahLst/>
              <a:cxnLst/>
              <a:rect l="l" t="t" r="r" b="b"/>
              <a:pathLst>
                <a:path w="1712688" h="441495">
                  <a:moveTo>
                    <a:pt x="17195" y="0"/>
                  </a:moveTo>
                  <a:lnTo>
                    <a:pt x="1695492" y="0"/>
                  </a:lnTo>
                  <a:cubicBezTo>
                    <a:pt x="1704989" y="0"/>
                    <a:pt x="1712688" y="7699"/>
                    <a:pt x="1712688" y="17195"/>
                  </a:cubicBezTo>
                  <a:lnTo>
                    <a:pt x="1712688" y="424300"/>
                  </a:lnTo>
                  <a:cubicBezTo>
                    <a:pt x="1712688" y="433796"/>
                    <a:pt x="1704989" y="441495"/>
                    <a:pt x="1695492" y="441495"/>
                  </a:cubicBezTo>
                  <a:lnTo>
                    <a:pt x="17195" y="441495"/>
                  </a:lnTo>
                  <a:cubicBezTo>
                    <a:pt x="7699" y="441495"/>
                    <a:pt x="0" y="433796"/>
                    <a:pt x="0" y="424300"/>
                  </a:cubicBezTo>
                  <a:lnTo>
                    <a:pt x="0" y="17195"/>
                  </a:lnTo>
                  <a:cubicBezTo>
                    <a:pt x="0" y="7699"/>
                    <a:pt x="7699" y="0"/>
                    <a:pt x="17195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FFD032"/>
              </a:solidFill>
              <a:prstDash val="solid"/>
              <a:miter/>
            </a:ln>
          </p:spPr>
        </p:sp>
        <p:sp>
          <p:nvSpPr>
            <p:cNvPr id="18" name="TextBox 18"/>
            <p:cNvSpPr txBox="1"/>
            <p:nvPr/>
          </p:nvSpPr>
          <p:spPr>
            <a:xfrm>
              <a:off x="0" y="-38100"/>
              <a:ext cx="1712688" cy="47959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9" name="Group 19"/>
          <p:cNvGrpSpPr/>
          <p:nvPr/>
        </p:nvGrpSpPr>
        <p:grpSpPr>
          <a:xfrm>
            <a:off x="2466523" y="5077337"/>
            <a:ext cx="999395" cy="999395"/>
            <a:chOff x="0" y="0"/>
            <a:chExt cx="812800" cy="812800"/>
          </a:xfrm>
        </p:grpSpPr>
        <p:sp>
          <p:nvSpPr>
            <p:cNvPr id="20" name="Freeform 20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77466" y="0"/>
                  </a:moveTo>
                  <a:lnTo>
                    <a:pt x="735334" y="0"/>
                  </a:lnTo>
                  <a:cubicBezTo>
                    <a:pt x="755879" y="0"/>
                    <a:pt x="775583" y="8162"/>
                    <a:pt x="790111" y="22689"/>
                  </a:cubicBezTo>
                  <a:cubicBezTo>
                    <a:pt x="804638" y="37217"/>
                    <a:pt x="812800" y="56921"/>
                    <a:pt x="812800" y="77466"/>
                  </a:cubicBezTo>
                  <a:lnTo>
                    <a:pt x="812800" y="735334"/>
                  </a:lnTo>
                  <a:cubicBezTo>
                    <a:pt x="812800" y="755879"/>
                    <a:pt x="804638" y="775583"/>
                    <a:pt x="790111" y="790111"/>
                  </a:cubicBezTo>
                  <a:cubicBezTo>
                    <a:pt x="775583" y="804638"/>
                    <a:pt x="755879" y="812800"/>
                    <a:pt x="735334" y="812800"/>
                  </a:cubicBezTo>
                  <a:lnTo>
                    <a:pt x="77466" y="812800"/>
                  </a:lnTo>
                  <a:cubicBezTo>
                    <a:pt x="56921" y="812800"/>
                    <a:pt x="37217" y="804638"/>
                    <a:pt x="22689" y="790111"/>
                  </a:cubicBezTo>
                  <a:cubicBezTo>
                    <a:pt x="8162" y="775583"/>
                    <a:pt x="0" y="755879"/>
                    <a:pt x="0" y="735334"/>
                  </a:cubicBezTo>
                  <a:lnTo>
                    <a:pt x="0" y="77466"/>
                  </a:lnTo>
                  <a:cubicBezTo>
                    <a:pt x="0" y="56921"/>
                    <a:pt x="8162" y="37217"/>
                    <a:pt x="22689" y="22689"/>
                  </a:cubicBezTo>
                  <a:cubicBezTo>
                    <a:pt x="37217" y="8162"/>
                    <a:pt x="56921" y="0"/>
                    <a:pt x="77466" y="0"/>
                  </a:cubicBezTo>
                  <a:close/>
                </a:path>
              </a:pathLst>
            </a:custGeom>
            <a:solidFill>
              <a:srgbClr val="FFD032"/>
            </a:solidFill>
          </p:spPr>
        </p:sp>
        <p:sp>
          <p:nvSpPr>
            <p:cNvPr id="21" name="TextBox 21"/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22" name="Freeform 22"/>
          <p:cNvSpPr/>
          <p:nvPr/>
        </p:nvSpPr>
        <p:spPr>
          <a:xfrm>
            <a:off x="2682586" y="5303682"/>
            <a:ext cx="567269" cy="546706"/>
          </a:xfrm>
          <a:custGeom>
            <a:avLst/>
            <a:gdLst/>
            <a:ahLst/>
            <a:cxnLst/>
            <a:rect l="l" t="t" r="r" b="b"/>
            <a:pathLst>
              <a:path w="850904" h="820059">
                <a:moveTo>
                  <a:pt x="0" y="0"/>
                </a:moveTo>
                <a:lnTo>
                  <a:pt x="850904" y="0"/>
                </a:lnTo>
                <a:lnTo>
                  <a:pt x="850904" y="820059"/>
                </a:lnTo>
                <a:lnTo>
                  <a:pt x="0" y="820059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36" name="Freeform 36"/>
          <p:cNvSpPr/>
          <p:nvPr/>
        </p:nvSpPr>
        <p:spPr>
          <a:xfrm>
            <a:off x="2569010" y="2106371"/>
            <a:ext cx="794422" cy="620642"/>
          </a:xfrm>
          <a:custGeom>
            <a:avLst/>
            <a:gdLst/>
            <a:ahLst/>
            <a:cxnLst/>
            <a:rect l="l" t="t" r="r" b="b"/>
            <a:pathLst>
              <a:path w="1191633" h="930963">
                <a:moveTo>
                  <a:pt x="0" y="0"/>
                </a:moveTo>
                <a:lnTo>
                  <a:pt x="1191634" y="0"/>
                </a:lnTo>
                <a:lnTo>
                  <a:pt x="1191634" y="930964"/>
                </a:lnTo>
                <a:lnTo>
                  <a:pt x="0" y="930964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38" name="TextBox 38"/>
          <p:cNvSpPr txBox="1"/>
          <p:nvPr/>
        </p:nvSpPr>
        <p:spPr>
          <a:xfrm>
            <a:off x="3812414" y="1811437"/>
            <a:ext cx="5125005" cy="3081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2453"/>
              </a:lnSpc>
              <a:spcBef>
                <a:spcPct val="0"/>
              </a:spcBef>
            </a:pPr>
            <a:r>
              <a:rPr lang="en-US" sz="2000" b="1" spc="56" dirty="0">
                <a:solidFill>
                  <a:srgbClr val="000000"/>
                </a:solidFill>
                <a:latin typeface="Barlow Semi-Bold"/>
              </a:rPr>
              <a:t>Quarterly Small Group Coaching Calls 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3812414" y="2172278"/>
            <a:ext cx="7341838" cy="84638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50"/>
              </a:lnSpc>
              <a:spcBef>
                <a:spcPct val="0"/>
              </a:spcBef>
            </a:pPr>
            <a:r>
              <a:rPr lang="en-US" sz="2000" spc="74" dirty="0">
                <a:solidFill>
                  <a:srgbClr val="000000"/>
                </a:solidFill>
                <a:latin typeface="Barlow SemiCondensed"/>
              </a:rPr>
              <a:t>OB and nursing champions will lead coaching calls with 4-5 teams each quarter where teams share their successes, barriers and strategies and learn from one another</a:t>
            </a:r>
          </a:p>
        </p:txBody>
      </p:sp>
      <p:sp>
        <p:nvSpPr>
          <p:cNvPr id="40" name="TextBox 40"/>
          <p:cNvSpPr txBox="1"/>
          <p:nvPr/>
        </p:nvSpPr>
        <p:spPr>
          <a:xfrm>
            <a:off x="3812414" y="3424946"/>
            <a:ext cx="4930662" cy="3081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2453"/>
              </a:lnSpc>
              <a:spcBef>
                <a:spcPct val="0"/>
              </a:spcBef>
            </a:pPr>
            <a:r>
              <a:rPr lang="en-US" sz="2000" b="1" spc="56" dirty="0">
                <a:solidFill>
                  <a:srgbClr val="000000"/>
                </a:solidFill>
                <a:latin typeface="Barlow Semi-Bold"/>
              </a:rPr>
              <a:t>Key Players Meeting for your Hospital</a:t>
            </a:r>
          </a:p>
        </p:txBody>
      </p:sp>
      <p:sp>
        <p:nvSpPr>
          <p:cNvPr id="41" name="TextBox 41"/>
          <p:cNvSpPr txBox="1"/>
          <p:nvPr/>
        </p:nvSpPr>
        <p:spPr>
          <a:xfrm>
            <a:off x="3808478" y="3740094"/>
            <a:ext cx="7131666" cy="84638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50"/>
              </a:lnSpc>
              <a:spcBef>
                <a:spcPct val="0"/>
              </a:spcBef>
            </a:pPr>
            <a:r>
              <a:rPr lang="en-US" sz="2000" spc="74" dirty="0">
                <a:solidFill>
                  <a:srgbClr val="000000"/>
                </a:solidFill>
                <a:latin typeface="Barlow SemiCondensed"/>
              </a:rPr>
              <a:t>ILPQC will facilitate a meeting for each hospital to bring together hospital, obstetric and nursing leadership to review strategies and establish plan to achieve PVB goals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3812414" y="5002456"/>
            <a:ext cx="3888553" cy="30816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2453"/>
              </a:lnSpc>
              <a:spcBef>
                <a:spcPct val="0"/>
              </a:spcBef>
            </a:pPr>
            <a:r>
              <a:rPr lang="en-US" sz="2000" b="1" spc="56" dirty="0">
                <a:solidFill>
                  <a:srgbClr val="000000"/>
                </a:solidFill>
                <a:latin typeface="Barlow Semi-Bold"/>
              </a:rPr>
              <a:t>Individual</a:t>
            </a:r>
            <a:r>
              <a:rPr lang="en-US" sz="1750" b="1" spc="56" dirty="0">
                <a:solidFill>
                  <a:srgbClr val="000000"/>
                </a:solidFill>
                <a:latin typeface="Barlow Semi-Bold"/>
              </a:rPr>
              <a:t> </a:t>
            </a:r>
            <a:r>
              <a:rPr lang="en-US" sz="2000" b="1" spc="56" dirty="0">
                <a:solidFill>
                  <a:srgbClr val="000000"/>
                </a:solidFill>
                <a:latin typeface="Barlow Semi-Bold"/>
              </a:rPr>
              <a:t>Outreach</a:t>
            </a:r>
            <a:endParaRPr lang="en-US" sz="1750" b="1" spc="56" dirty="0">
              <a:solidFill>
                <a:srgbClr val="000000"/>
              </a:solidFill>
              <a:latin typeface="Barlow Semi-Bold"/>
            </a:endParaRPr>
          </a:p>
        </p:txBody>
      </p:sp>
      <p:sp>
        <p:nvSpPr>
          <p:cNvPr id="43" name="TextBox 43"/>
          <p:cNvSpPr txBox="1"/>
          <p:nvPr/>
        </p:nvSpPr>
        <p:spPr>
          <a:xfrm>
            <a:off x="3812415" y="5330801"/>
            <a:ext cx="7127729" cy="84638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50"/>
              </a:lnSpc>
              <a:spcBef>
                <a:spcPct val="0"/>
              </a:spcBef>
            </a:pPr>
            <a:r>
              <a:rPr lang="en-US" sz="2000" spc="74" dirty="0">
                <a:solidFill>
                  <a:srgbClr val="000000"/>
                </a:solidFill>
                <a:latin typeface="Barlow SemiCondensed"/>
              </a:rPr>
              <a:t>Quarterly QI Support and 1-1 meetings for teams to discuss specific strategies; ILPQC will provide support and feedback at OB Provider Meeting or Grand Rounds </a:t>
            </a:r>
          </a:p>
        </p:txBody>
      </p:sp>
      <p:sp>
        <p:nvSpPr>
          <p:cNvPr id="45" name="Title 44">
            <a:extLst>
              <a:ext uri="{FF2B5EF4-FFF2-40B4-BE49-F238E27FC236}">
                <a16:creationId xmlns:a16="http://schemas.microsoft.com/office/drawing/2014/main" id="{DCCAC132-08DC-730A-5C29-9F39DFC96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648" y="82159"/>
            <a:ext cx="7657638" cy="1336001"/>
          </a:xfrm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PVB teams continuing to work towards NTSV C-section goals in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909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F7ECFA-9A0A-9DDB-8C43-ECC0ADA756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36525"/>
            <a:ext cx="7260771" cy="1325563"/>
          </a:xfrm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Apply now to be a PVB Coach!</a:t>
            </a:r>
            <a:br>
              <a:rPr lang="en-US" dirty="0">
                <a:ea typeface="Lato Medium"/>
                <a:cs typeface="Lato Medium"/>
              </a:rPr>
            </a:br>
            <a:r>
              <a:rPr lang="en-US" sz="2400" i="1" dirty="0">
                <a:ea typeface="Lato Medium"/>
                <a:cs typeface="Lato Medium"/>
              </a:rPr>
              <a:t>If your team has achieved PVB goals, please apply</a:t>
            </a:r>
            <a:endParaRPr lang="en-US" i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DF9C8E-8790-F93F-A1FB-121645565B2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68C92C-005B-3906-EB52-82455950A3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21FCE26-48AE-DF2A-2DFB-8004F502D48B}"/>
              </a:ext>
            </a:extLst>
          </p:cNvPr>
          <p:cNvSpPr txBox="1">
            <a:spLocks/>
          </p:cNvSpPr>
          <p:nvPr/>
        </p:nvSpPr>
        <p:spPr>
          <a:xfrm>
            <a:off x="724791" y="1279103"/>
            <a:ext cx="3643136" cy="45161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a typeface="Lato"/>
                <a:cs typeface="Calibri"/>
              </a:rPr>
              <a:t>5 Nurse and 5 OB Provider  PVB Coaches will be selected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cs typeface="Calibri"/>
              </a:rPr>
              <a:t>Additional applications for OB provider coaches are still needed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a typeface="Lato"/>
                <a:cs typeface="Calibri"/>
              </a:rPr>
              <a:t>Coaches will be compensated with a stipend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a typeface="Lato"/>
                <a:cs typeface="Calibri"/>
              </a:rPr>
              <a:t>Application Open Until 12/6</a:t>
            </a:r>
          </a:p>
          <a:p>
            <a:endParaRPr lang="en-US" sz="2000" dirty="0">
              <a:cs typeface="Calibri"/>
            </a:endParaRPr>
          </a:p>
          <a:p>
            <a:endParaRPr lang="en-US" sz="1700" dirty="0">
              <a:cs typeface="Calibri"/>
            </a:endParaRPr>
          </a:p>
          <a:p>
            <a:endParaRPr lang="en-US" sz="1700" dirty="0">
              <a:cs typeface="Calibri"/>
            </a:endParaRPr>
          </a:p>
          <a:p>
            <a:pPr lvl="2"/>
            <a:endParaRPr lang="en-US" sz="1100" dirty="0">
              <a:cs typeface="Calibri"/>
            </a:endParaRPr>
          </a:p>
          <a:p>
            <a:pPr marL="0" indent="0">
              <a:buNone/>
            </a:pPr>
            <a:r>
              <a:rPr lang="en-US" dirty="0"/>
              <a:t>  </a:t>
            </a:r>
          </a:p>
        </p:txBody>
      </p:sp>
      <p:pic>
        <p:nvPicPr>
          <p:cNvPr id="6" name="Picture 5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DA05BE17-AA5D-BA60-0A4C-78B0832C67A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88"/>
          <a:stretch/>
        </p:blipFill>
        <p:spPr>
          <a:xfrm>
            <a:off x="1132101" y="4062085"/>
            <a:ext cx="2151231" cy="2162367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E474198-A70E-369D-B0F9-B0AEAC5291B9}"/>
              </a:ext>
            </a:extLst>
          </p:cNvPr>
          <p:cNvSpPr txBox="1">
            <a:spLocks/>
          </p:cNvSpPr>
          <p:nvPr/>
        </p:nvSpPr>
        <p:spPr>
          <a:xfrm>
            <a:off x="427973" y="3246437"/>
            <a:ext cx="412523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r>
              <a:rPr lang="en-US" dirty="0">
                <a:solidFill>
                  <a:srgbClr val="F5668F"/>
                </a:solidFill>
                <a:ea typeface="Lato Medium"/>
                <a:cs typeface="Lato Medium"/>
              </a:rPr>
              <a:t>Scan here to apply!</a:t>
            </a:r>
            <a:endParaRPr lang="en-US" dirty="0">
              <a:solidFill>
                <a:srgbClr val="F5668F"/>
              </a:solidFill>
            </a:endParaRPr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191D9639-C524-EB97-F66C-C05601A6E6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06405889"/>
              </p:ext>
            </p:extLst>
          </p:nvPr>
        </p:nvGraphicFramePr>
        <p:xfrm>
          <a:off x="4592877" y="1767213"/>
          <a:ext cx="7171150" cy="41273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55" name="TextBox 354">
            <a:extLst>
              <a:ext uri="{FF2B5EF4-FFF2-40B4-BE49-F238E27FC236}">
                <a16:creationId xmlns:a16="http://schemas.microsoft.com/office/drawing/2014/main" id="{23049F86-1836-87D0-87A4-C5394A86B7B1}"/>
              </a:ext>
            </a:extLst>
          </p:cNvPr>
          <p:cNvSpPr txBox="1"/>
          <p:nvPr/>
        </p:nvSpPr>
        <p:spPr>
          <a:xfrm>
            <a:off x="4839222" y="5945688"/>
            <a:ext cx="6553200" cy="41054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>
                <a:ea typeface="Calibri"/>
                <a:cs typeface="Calibri"/>
              </a:rPr>
              <a:t>Email </a:t>
            </a:r>
            <a:r>
              <a:rPr lang="en-US" sz="2000">
                <a:ea typeface="Calibri"/>
                <a:cs typeface="Calibri"/>
                <a:hlinkClick r:id="rId8"/>
              </a:rPr>
              <a:t>info@ilpqc.org</a:t>
            </a:r>
            <a:r>
              <a:rPr lang="en-US" sz="2000">
                <a:ea typeface="Calibri"/>
                <a:cs typeface="Calibri"/>
              </a:rPr>
              <a:t> with any questions!</a:t>
            </a:r>
          </a:p>
        </p:txBody>
      </p:sp>
    </p:spTree>
    <p:extLst>
      <p:ext uri="{BB962C8B-B14F-4D97-AF65-F5344CB8AC3E}">
        <p14:creationId xmlns:p14="http://schemas.microsoft.com/office/powerpoint/2010/main" val="3360629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A5CF44-C04E-2641-ED4D-3C33EBFE6A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Team Sharing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8CE7A3-7AD4-5C36-CC69-900C54CEE0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2716427"/>
            <a:ext cx="9365380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ea typeface="Lato"/>
                <a:cs typeface="Lato"/>
              </a:rPr>
              <a:t>Stroger: Amanda Dhuyvetter</a:t>
            </a:r>
          </a:p>
          <a:p>
            <a:r>
              <a:rPr lang="en-US" dirty="0">
                <a:ea typeface="Lato"/>
                <a:cs typeface="Lato"/>
              </a:rPr>
              <a:t>NM Kishwaukee: Angela Kennedy</a:t>
            </a:r>
          </a:p>
          <a:p>
            <a:r>
              <a:rPr lang="en-US" dirty="0">
                <a:ea typeface="+mn-lt"/>
                <a:cs typeface="+mn-lt"/>
              </a:rPr>
              <a:t>NorthShore Evanston: Dina </a:t>
            </a:r>
            <a:r>
              <a:rPr lang="en-US" dirty="0" err="1">
                <a:ea typeface="+mn-lt"/>
                <a:cs typeface="+mn-lt"/>
              </a:rPr>
              <a:t>Kapogiannis</a:t>
            </a:r>
            <a:endParaRPr lang="en-US" dirty="0">
              <a:ea typeface="+mn-lt"/>
              <a:cs typeface="+mn-lt"/>
            </a:endParaRPr>
          </a:p>
          <a:p>
            <a:r>
              <a:rPr lang="en-US" dirty="0">
                <a:ea typeface="+mn-lt"/>
                <a:cs typeface="+mn-lt"/>
              </a:rPr>
              <a:t>University of Chicago: Anna </a:t>
            </a:r>
            <a:r>
              <a:rPr lang="en-US">
                <a:ea typeface="+mn-lt"/>
                <a:cs typeface="+mn-lt"/>
              </a:rPr>
              <a:t>Marzano</a:t>
            </a:r>
            <a:endParaRPr lang="en-US" dirty="0">
              <a:ea typeface="+mn-lt"/>
              <a:cs typeface="+mn-lt"/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2014C6-EC67-AE88-5E18-ED26EF13E90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F4EEAA-EF8A-2800-8311-526203DB24A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4780504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581" y="172509"/>
            <a:ext cx="10972800" cy="1325563"/>
          </a:xfrm>
          <a:noFill/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Upcoming PVB Cal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graphicFrame>
        <p:nvGraphicFramePr>
          <p:cNvPr id="458" name="Table 458">
            <a:extLst>
              <a:ext uri="{FF2B5EF4-FFF2-40B4-BE49-F238E27FC236}">
                <a16:creationId xmlns:a16="http://schemas.microsoft.com/office/drawing/2014/main" id="{6B8DD92D-FC61-B8CD-3116-E6D4BC770D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0582401"/>
              </p:ext>
            </p:extLst>
          </p:nvPr>
        </p:nvGraphicFramePr>
        <p:xfrm>
          <a:off x="272814" y="1631382"/>
          <a:ext cx="9706583" cy="358110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367280">
                  <a:extLst>
                    <a:ext uri="{9D8B030D-6E8A-4147-A177-3AD203B41FA5}">
                      <a16:colId xmlns:a16="http://schemas.microsoft.com/office/drawing/2014/main" val="2337264793"/>
                    </a:ext>
                  </a:extLst>
                </a:gridCol>
                <a:gridCol w="5339303">
                  <a:extLst>
                    <a:ext uri="{9D8B030D-6E8A-4147-A177-3AD203B41FA5}">
                      <a16:colId xmlns:a16="http://schemas.microsoft.com/office/drawing/2014/main" val="1898119252"/>
                    </a:ext>
                  </a:extLst>
                </a:gridCol>
              </a:tblGrid>
              <a:tr h="733777">
                <a:tc>
                  <a:txBody>
                    <a:bodyPr/>
                    <a:lstStyle/>
                    <a:p>
                      <a:r>
                        <a:rPr lang="en-US" sz="2400" u="sng" dirty="0">
                          <a:solidFill>
                            <a:srgbClr val="000000"/>
                          </a:solidFill>
                        </a:rPr>
                        <a:t>Even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u="sng" dirty="0">
                          <a:solidFill>
                            <a:srgbClr val="000000"/>
                          </a:solidFill>
                        </a:rPr>
                        <a:t>Day/Time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2244632"/>
                  </a:ext>
                </a:extLst>
              </a:tr>
              <a:tr h="949110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44C55"/>
                        </a:buClr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Calibri"/>
                        </a:rPr>
                        <a:t>December 202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No PVB Webinar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1277404"/>
                  </a:ext>
                </a:extLst>
              </a:tr>
              <a:tr h="949109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+mn-lt"/>
                        </a:rPr>
                        <a:t>January 2023</a:t>
                      </a:r>
                      <a:endParaRPr lang="en-US" sz="2400" b="1" i="0" u="none" strike="noStrike" baseline="0" noProof="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2400" b="1" i="0" u="none" strike="noStrike" kern="1200" baseline="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VB Sustainability Webinar </a:t>
                      </a:r>
                    </a:p>
                    <a:p>
                      <a:pPr marL="0" lvl="0" indent="0">
                        <a:buFont typeface="Arial"/>
                        <a:buNone/>
                      </a:pPr>
                      <a:endParaRPr lang="en-US" sz="2400" b="1" i="0" u="none" strike="noStrike" kern="1200" noProof="0" dirty="0">
                        <a:solidFill>
                          <a:schemeClr val="accent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663686"/>
                  </a:ext>
                </a:extLst>
              </a:tr>
              <a:tr h="949109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+mn-lt"/>
                        </a:rPr>
                        <a:t>February 2023</a:t>
                      </a:r>
                      <a:endParaRPr lang="en-US" sz="24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No PVB Webinar</a:t>
                      </a:r>
                      <a:endParaRPr lang="en-US" sz="2400" dirty="0"/>
                    </a:p>
                    <a:p>
                      <a:pPr marL="0" lvl="0" indent="0">
                        <a:buFont typeface="Arial"/>
                        <a:buNone/>
                      </a:pPr>
                      <a:r>
                        <a:rPr lang="en-US" sz="2400" b="1" i="0" u="none" strike="noStrike" kern="1200" baseline="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6580426"/>
                  </a:ext>
                </a:extLst>
              </a:tr>
            </a:tbl>
          </a:graphicData>
        </a:graphic>
      </p:graphicFrame>
      <p:pic>
        <p:nvPicPr>
          <p:cNvPr id="479" name="Graphic 479" descr="Daily calendar with solid fill">
            <a:extLst>
              <a:ext uri="{FF2B5EF4-FFF2-40B4-BE49-F238E27FC236}">
                <a16:creationId xmlns:a16="http://schemas.microsoft.com/office/drawing/2014/main" id="{843CD5E3-5569-66AE-9C08-081E41E8E29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45910" y="2089272"/>
            <a:ext cx="2707630" cy="267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5175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FEA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629" y="168250"/>
            <a:ext cx="10972800" cy="1043341"/>
          </a:xfrm>
          <a:noFill/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I</a:t>
            </a:r>
            <a:r>
              <a:rPr lang="en-US">
                <a:solidFill>
                  <a:srgbClr val="1C498B"/>
                </a:solidFill>
                <a:ea typeface="Lato Medium"/>
                <a:cs typeface="Lato Medium"/>
              </a:rPr>
              <a:t>LPQC 11th Annual Conference Agenda </a:t>
            </a:r>
            <a:endParaRPr lang="en-US">
              <a:solidFill>
                <a:srgbClr val="1C498B"/>
              </a:solidFill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17069201"/>
              </p:ext>
            </p:extLst>
          </p:nvPr>
        </p:nvGraphicFramePr>
        <p:xfrm>
          <a:off x="-20876" y="1388301"/>
          <a:ext cx="5692742" cy="5456571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277359">
                  <a:extLst>
                    <a:ext uri="{9D8B030D-6E8A-4147-A177-3AD203B41FA5}">
                      <a16:colId xmlns:a16="http://schemas.microsoft.com/office/drawing/2014/main" val="2045499979"/>
                    </a:ext>
                  </a:extLst>
                </a:gridCol>
                <a:gridCol w="4415383">
                  <a:extLst>
                    <a:ext uri="{9D8B030D-6E8A-4147-A177-3AD203B41FA5}">
                      <a16:colId xmlns:a16="http://schemas.microsoft.com/office/drawing/2014/main" val="2102383569"/>
                    </a:ext>
                  </a:extLst>
                </a:gridCol>
              </a:tblGrid>
              <a:tr h="701085">
                <a:tc>
                  <a:txBody>
                    <a:bodyPr/>
                    <a:lstStyle/>
                    <a:p>
                      <a:pPr marL="0" lv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Calibri"/>
                          <a:ea typeface="MS Mincho"/>
                          <a:cs typeface="Times New Roman"/>
                        </a:rPr>
                        <a:t>8:00-8:15am</a:t>
                      </a:r>
                    </a:p>
                  </a:txBody>
                  <a:tcPr marL="40445" marR="40445" marT="0" marB="0"/>
                </a:tc>
                <a:tc>
                  <a:txBody>
                    <a:bodyPr/>
                    <a:lstStyle/>
                    <a:p>
                      <a:pPr marL="0" lv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i="1" u="none" strike="noStrike" kern="1200">
                          <a:solidFill>
                            <a:srgbClr val="444C55"/>
                          </a:solidFill>
                          <a:effectLst/>
                          <a:latin typeface="Calibri"/>
                        </a:rPr>
                        <a:t>Welcome</a:t>
                      </a:r>
                    </a:p>
                    <a:p>
                      <a:pPr marL="0" marR="0" lvl="0" algn="l" defTabSz="914400" rtl="0" eaLnBrk="1" latinLnBrk="0" hangingPunct="1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kern="1200" noProof="0">
                          <a:solidFill>
                            <a:srgbClr val="E6735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arity S. Bean, CMA, CFSD, CLC, CBA, CHW, SRN</a:t>
                      </a:r>
                    </a:p>
                    <a:p>
                      <a:pPr marL="0" marR="0" lvl="0" algn="l" defTabSz="914400" rtl="0" eaLnBrk="1" latinLnBrk="0" hangingPunct="1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kern="1200" noProof="0">
                          <a:solidFill>
                            <a:srgbClr val="E6735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n Borders, MD, MSc, MPH </a:t>
                      </a:r>
                      <a:endParaRPr lang="en-US" sz="1400" b="1" kern="1200">
                        <a:solidFill>
                          <a:srgbClr val="E6735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445" marR="40445" marT="0" marB="0"/>
                </a:tc>
                <a:extLst>
                  <a:ext uri="{0D108BD9-81ED-4DB2-BD59-A6C34878D82A}">
                    <a16:rowId xmlns:a16="http://schemas.microsoft.com/office/drawing/2014/main" val="771486570"/>
                  </a:ext>
                </a:extLst>
              </a:tr>
              <a:tr h="109467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8:15-9:00am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40445" marR="40445" marT="0" marB="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1" i="1" u="none" strike="noStrike" kern="1200" noProof="0">
                          <a:effectLst/>
                          <a:latin typeface="Calibri"/>
                        </a:rPr>
                        <a:t>ILPQC Year in Review:</a:t>
                      </a:r>
                      <a:endParaRPr lang="en-US"/>
                    </a:p>
                    <a:p>
                      <a:pPr lvl="0">
                        <a:buNone/>
                      </a:pPr>
                      <a:r>
                        <a:rPr lang="en-US" sz="1400" b="1" i="1" u="none" strike="noStrike" kern="1200" noProof="0">
                          <a:effectLst/>
                          <a:latin typeface="Calibri"/>
                        </a:rPr>
                        <a:t>Making a Difference with Patients and Communities</a:t>
                      </a:r>
                      <a:endParaRPr lang="en-US"/>
                    </a:p>
                    <a:p>
                      <a:pPr marL="0" marR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rgbClr val="E6735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n Borders, MD, MSc, MPH 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rgbClr val="E6735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slie Caldarelli,</a:t>
                      </a:r>
                      <a:r>
                        <a:rPr lang="en-US" sz="1400" b="1" kern="1200" baseline="0">
                          <a:solidFill>
                            <a:srgbClr val="E6735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D</a:t>
                      </a:r>
                      <a:endParaRPr lang="en-US" sz="1400" b="1" kern="1200">
                        <a:solidFill>
                          <a:srgbClr val="E6735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rgbClr val="E6735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stin Josephsen, MD</a:t>
                      </a:r>
                    </a:p>
                  </a:txBody>
                  <a:tcPr marL="40445" marR="40445" marT="0" marB="0"/>
                </a:tc>
                <a:extLst>
                  <a:ext uri="{0D108BD9-81ED-4DB2-BD59-A6C34878D82A}">
                    <a16:rowId xmlns:a16="http://schemas.microsoft.com/office/drawing/2014/main" val="2864136644"/>
                  </a:ext>
                </a:extLst>
              </a:tr>
              <a:tr h="67648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9:00-9:45am</a:t>
                      </a:r>
                      <a:endParaRPr lang="en-US" sz="140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40445" marR="40445" marT="0" marB="0"/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700"/>
                        </a:spcAft>
                        <a:buNone/>
                      </a:pPr>
                      <a:r>
                        <a:rPr lang="en-US" sz="1400" b="1" i="1" u="none" strike="noStrike" kern="1200" baseline="0" noProof="0">
                          <a:solidFill>
                            <a:srgbClr val="444C55"/>
                          </a:solidFill>
                          <a:effectLst/>
                          <a:latin typeface="Calibri"/>
                        </a:rPr>
                        <a:t>Incorporating Health Equity into Quality Improvement Initiatives in Perinatal Healthcare</a:t>
                      </a:r>
                    </a:p>
                    <a:p>
                      <a:pPr marL="0" marR="0" lv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700"/>
                        </a:spcAft>
                        <a:buNone/>
                      </a:pPr>
                      <a:r>
                        <a:rPr lang="en-US" sz="1400" b="1" i="0" u="none" strike="noStrike" kern="1200" baseline="0" noProof="0">
                          <a:solidFill>
                            <a:srgbClr val="E67356"/>
                          </a:solidFill>
                          <a:effectLst/>
                          <a:latin typeface="Calibri"/>
                        </a:rPr>
                        <a:t>Christina Davidson, MD</a:t>
                      </a:r>
                    </a:p>
                  </a:txBody>
                  <a:tcPr marL="40445" marR="40445" marT="0" marB="0"/>
                </a:tc>
                <a:extLst>
                  <a:ext uri="{0D108BD9-81ED-4DB2-BD59-A6C34878D82A}">
                    <a16:rowId xmlns:a16="http://schemas.microsoft.com/office/drawing/2014/main" val="3626619322"/>
                  </a:ext>
                </a:extLst>
              </a:tr>
              <a:tr h="23369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9:45-10:00am</a:t>
                      </a:r>
                      <a:endParaRPr lang="en-US" sz="1400">
                        <a:solidFill>
                          <a:srgbClr val="365F91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40445" marR="40445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i="1">
                          <a:effectLst/>
                        </a:rPr>
                        <a:t>Break</a:t>
                      </a:r>
                      <a:endParaRPr lang="en-US" sz="1400" b="1" i="1" kern="1200">
                        <a:solidFill>
                          <a:srgbClr val="E67356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0445" marR="40445" marT="0" marB="0"/>
                </a:tc>
                <a:extLst>
                  <a:ext uri="{0D108BD9-81ED-4DB2-BD59-A6C34878D82A}">
                    <a16:rowId xmlns:a16="http://schemas.microsoft.com/office/drawing/2014/main" val="3124092787"/>
                  </a:ext>
                </a:extLst>
              </a:tr>
              <a:tr h="67648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:00-10:45am</a:t>
                      </a:r>
                    </a:p>
                  </a:txBody>
                  <a:tcPr marL="40445" marR="40445" marT="0" marB="0"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Aft>
                          <a:spcPts val="700"/>
                        </a:spcAft>
                        <a:buNone/>
                      </a:pPr>
                      <a:r>
                        <a:rPr lang="en-US" sz="1400" b="1" i="1" u="none" strike="noStrike" kern="1200" baseline="0" noProof="0">
                          <a:solidFill>
                            <a:srgbClr val="444C55"/>
                          </a:solidFill>
                          <a:effectLst/>
                          <a:latin typeface="Calibri"/>
                        </a:rPr>
                        <a:t>Equity-focused Approaches to Improving Safe Infant Sleep during Birth Hospitalization</a:t>
                      </a:r>
                      <a:endParaRPr lang="en-US"/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700"/>
                        </a:spcAft>
                        <a:buNone/>
                      </a:pPr>
                      <a:r>
                        <a:rPr lang="en-US" sz="1400" b="1" i="0" u="none" strike="noStrike" kern="1200" noProof="0">
                          <a:solidFill>
                            <a:srgbClr val="E67356"/>
                          </a:solidFill>
                          <a:effectLst/>
                          <a:latin typeface="Calibri"/>
                        </a:rPr>
                        <a:t>Sunah Susan Hwang, MD, MPH, PhD</a:t>
                      </a:r>
                      <a:endParaRPr lang="en-US" sz="1400" b="1" i="0" u="none" strike="noStrike" kern="1200" noProof="0">
                        <a:effectLst/>
                      </a:endParaRPr>
                    </a:p>
                  </a:txBody>
                  <a:tcPr marL="40445" marR="40445" marT="0" marB="0"/>
                </a:tc>
                <a:extLst>
                  <a:ext uri="{0D108BD9-81ED-4DB2-BD59-A6C34878D82A}">
                    <a16:rowId xmlns:a16="http://schemas.microsoft.com/office/drawing/2014/main" val="337503356"/>
                  </a:ext>
                </a:extLst>
              </a:tr>
              <a:tr h="177116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10:45 -11:45am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>
                        <a:solidFill>
                          <a:srgbClr val="365F91"/>
                        </a:solidFill>
                        <a:effectLst/>
                        <a:latin typeface="Calibri"/>
                        <a:ea typeface="MS Mincho"/>
                        <a:cs typeface="Times New Roman"/>
                      </a:endParaRPr>
                    </a:p>
                  </a:txBody>
                  <a:tcPr marL="40445" marR="40445" marT="0" marB="0"/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700"/>
                        </a:spcAft>
                        <a:buNone/>
                      </a:pPr>
                      <a:r>
                        <a:rPr lang="en-US" sz="1400" b="1" i="1" u="none" strike="noStrike" noProof="0">
                          <a:effectLst/>
                          <a:latin typeface="Calibri"/>
                        </a:rPr>
                        <a:t>State Perinatal Quality Collaborative Leaders Panel: National Perspectives on Improving Perinatal Care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400" b="1" i="0" u="none" strike="noStrike" baseline="0" noProof="0">
                          <a:solidFill>
                            <a:srgbClr val="E67356"/>
                          </a:solidFill>
                          <a:effectLst/>
                          <a:latin typeface="Calibri"/>
                        </a:rPr>
                        <a:t>Brenda Barker, M Ed, MBA</a:t>
                      </a:r>
                      <a:r>
                        <a:rPr lang="en-US" sz="1400" b="1" i="0" u="none" strike="noStrike" noProof="0">
                          <a:solidFill>
                            <a:srgbClr val="E67356"/>
                          </a:solidFill>
                          <a:effectLst/>
                        </a:rPr>
                        <a:t>N</a:t>
                      </a:r>
                      <a:r>
                        <a:rPr lang="en-US" sz="1400" b="1" i="0" u="none" strike="noStrike" noProof="0">
                          <a:effectLst/>
                        </a:rPr>
                        <a:t> </a:t>
                      </a:r>
                      <a:endParaRPr lang="en-US" b="1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200" b="1" i="0" u="none" strike="noStrike" noProof="0">
                          <a:effectLst/>
                        </a:rPr>
                        <a:t>Tennessee Initiative for Perinatal Quality Care (TIPQC)</a:t>
                      </a: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400" b="1" i="0" u="none" strike="noStrike" kern="1200" baseline="0" noProof="0">
                          <a:solidFill>
                            <a:srgbClr val="E67356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ylie</a:t>
                      </a:r>
                      <a:r>
                        <a:rPr lang="en-US" sz="1400" b="1" i="0" u="none" strike="noStrike" baseline="0" noProof="0">
                          <a:solidFill>
                            <a:srgbClr val="444C55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400" b="1" i="0" u="none" strike="noStrike" kern="1200" baseline="0" noProof="0">
                          <a:solidFill>
                            <a:srgbClr val="E67356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Hibshma</a:t>
                      </a:r>
                      <a:r>
                        <a:rPr lang="en-US" sz="1400" b="1" i="0" u="none" strike="noStrike" kern="1200" noProof="0">
                          <a:solidFill>
                            <a:srgbClr val="E6735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, LCSW, PMH-C</a:t>
                      </a:r>
                      <a:r>
                        <a:rPr lang="en-US" sz="1400" b="1" i="0" u="none" strike="noStrike" baseline="0" noProof="0">
                          <a:solidFill>
                            <a:srgbClr val="444C55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400" b="1" i="0" u="none" strike="noStrike" noProof="0">
                          <a:effectLst/>
                          <a:latin typeface="Calibri"/>
                        </a:rPr>
                        <a:t> 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200" b="1" i="0" u="none" strike="noStrike" baseline="0" noProof="0">
                          <a:solidFill>
                            <a:srgbClr val="444C55"/>
                          </a:solidFill>
                          <a:effectLst/>
                          <a:latin typeface="Calibri"/>
                        </a:rPr>
                        <a:t>Colorado Perinatal Care Quality Collaborative (CPCQC)</a:t>
                      </a: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400" b="1" i="0" u="none" strike="noStrike" baseline="0" noProof="0">
                          <a:solidFill>
                            <a:srgbClr val="E67356"/>
                          </a:solidFill>
                          <a:effectLst/>
                          <a:latin typeface="Calibri"/>
                        </a:rPr>
                        <a:t>Sydnie Carraher DNP, APRN-NP, NNP-BC</a:t>
                      </a: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200" b="1" i="0" u="none" strike="noStrike" baseline="0" noProof="0">
                          <a:solidFill>
                            <a:srgbClr val="444C55"/>
                          </a:solidFill>
                          <a:effectLst/>
                          <a:latin typeface="Calibri"/>
                        </a:rPr>
                        <a:t>Nebraska Perinatal Quality Improvement Collaborative (NPQIC)</a:t>
                      </a:r>
                    </a:p>
                  </a:txBody>
                  <a:tcPr marL="40445" marR="40445" marT="0" marB="0"/>
                </a:tc>
                <a:extLst>
                  <a:ext uri="{0D108BD9-81ED-4DB2-BD59-A6C34878D82A}">
                    <a16:rowId xmlns:a16="http://schemas.microsoft.com/office/drawing/2014/main" val="2859126696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2601422"/>
              </p:ext>
            </p:extLst>
          </p:nvPr>
        </p:nvGraphicFramePr>
        <p:xfrm>
          <a:off x="5668027" y="1377863"/>
          <a:ext cx="6527134" cy="5480243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1308040">
                  <a:extLst>
                    <a:ext uri="{9D8B030D-6E8A-4147-A177-3AD203B41FA5}">
                      <a16:colId xmlns:a16="http://schemas.microsoft.com/office/drawing/2014/main" val="811831014"/>
                    </a:ext>
                  </a:extLst>
                </a:gridCol>
                <a:gridCol w="5219094">
                  <a:extLst>
                    <a:ext uri="{9D8B030D-6E8A-4147-A177-3AD203B41FA5}">
                      <a16:colId xmlns:a16="http://schemas.microsoft.com/office/drawing/2014/main" val="4237072117"/>
                    </a:ext>
                  </a:extLst>
                </a:gridCol>
              </a:tblGrid>
              <a:tr h="395209">
                <a:tc>
                  <a:txBody>
                    <a:bodyPr/>
                    <a:lstStyle/>
                    <a:p>
                      <a:pPr marL="0" marR="0" lv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:45-12:00pm </a:t>
                      </a:r>
                      <a:endParaRPr lang="en-US"/>
                    </a:p>
                  </a:txBody>
                  <a:tcPr marL="40445" marR="40445" marT="0" marB="0"/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i="1" u="none" strike="noStrike" baseline="0" noProof="0">
                          <a:effectLst/>
                        </a:rPr>
                        <a:t>ILPQC Award Ceremony</a:t>
                      </a:r>
                      <a:endParaRPr lang="en-US"/>
                    </a:p>
                  </a:txBody>
                  <a:tcPr marL="40445" marR="40445" marT="0" marB="0"/>
                </a:tc>
                <a:extLst>
                  <a:ext uri="{0D108BD9-81ED-4DB2-BD59-A6C34878D82A}">
                    <a16:rowId xmlns:a16="http://schemas.microsoft.com/office/drawing/2014/main" val="2631044895"/>
                  </a:ext>
                </a:extLst>
              </a:tr>
              <a:tr h="395209">
                <a:tc>
                  <a:txBody>
                    <a:bodyPr/>
                    <a:lstStyle/>
                    <a:p>
                      <a:pPr marL="0" marR="0" lv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:00-1:15pm</a:t>
                      </a:r>
                      <a:endParaRPr lang="en-US"/>
                    </a:p>
                  </a:txBody>
                  <a:tcPr marL="40445" marR="40445" marT="0" marB="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1" i="1" u="none" strike="noStrike" kern="1200" baseline="0" noProof="0">
                          <a:effectLst/>
                        </a:rPr>
                        <a:t>Networking Lunch and Poster Session</a:t>
                      </a:r>
                      <a:endParaRPr lang="en-US"/>
                    </a:p>
                  </a:txBody>
                  <a:tcPr marL="40445" marR="40445" marT="0" marB="0"/>
                </a:tc>
                <a:extLst>
                  <a:ext uri="{0D108BD9-81ED-4DB2-BD59-A6C34878D82A}">
                    <a16:rowId xmlns:a16="http://schemas.microsoft.com/office/drawing/2014/main" val="2998743499"/>
                  </a:ext>
                </a:extLst>
              </a:tr>
              <a:tr h="97485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:15-1:45pm</a:t>
                      </a:r>
                    </a:p>
                  </a:txBody>
                  <a:tcPr marL="40445" marR="40445" marT="0" marB="0"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Aft>
                          <a:spcPts val="700"/>
                        </a:spcAft>
                        <a:buNone/>
                      </a:pPr>
                      <a:r>
                        <a:rPr lang="en-US" sz="1400" b="1" i="1" u="none" strike="noStrike" baseline="0" noProof="0">
                          <a:solidFill>
                            <a:srgbClr val="444C55"/>
                          </a:solidFill>
                          <a:effectLst/>
                          <a:latin typeface="Calibri"/>
                        </a:rPr>
                        <a:t>The Power of the Community in Promoting a Safe Sleep Environment</a:t>
                      </a:r>
                    </a:p>
                    <a:p>
                      <a:pPr marL="0" marR="0" lv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700"/>
                        </a:spcAft>
                        <a:buNone/>
                      </a:pPr>
                      <a:r>
                        <a:rPr lang="en-US" sz="1400" b="1" i="0" u="none" strike="noStrike" baseline="0" noProof="0">
                          <a:solidFill>
                            <a:srgbClr val="E67356"/>
                          </a:solidFill>
                          <a:effectLst/>
                          <a:latin typeface="Calibri"/>
                        </a:rPr>
                        <a:t>Nancy Maruyama RN, BSN, NCBF</a:t>
                      </a:r>
                    </a:p>
                    <a:p>
                      <a:pPr marL="0" marR="0" lv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700"/>
                        </a:spcAft>
                        <a:buNone/>
                      </a:pPr>
                      <a:r>
                        <a:rPr lang="en-US" sz="1400" b="1" i="0" u="none" strike="noStrike" baseline="0" noProof="0">
                          <a:solidFill>
                            <a:srgbClr val="E67356"/>
                          </a:solidFill>
                          <a:effectLst/>
                          <a:latin typeface="Calibri"/>
                        </a:rPr>
                        <a:t>Kakuna Smith</a:t>
                      </a:r>
                    </a:p>
                  </a:txBody>
                  <a:tcPr marL="40445" marR="40445" marT="0" marB="0"/>
                </a:tc>
                <a:extLst>
                  <a:ext uri="{0D108BD9-81ED-4DB2-BD59-A6C34878D82A}">
                    <a16:rowId xmlns:a16="http://schemas.microsoft.com/office/drawing/2014/main" val="598922245"/>
                  </a:ext>
                </a:extLst>
              </a:tr>
              <a:tr h="98802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:45-2:30pm </a:t>
                      </a:r>
                    </a:p>
                  </a:txBody>
                  <a:tcPr marL="40445" marR="40445" marT="0" marB="0"/>
                </a:tc>
                <a:tc>
                  <a:txBody>
                    <a:bodyPr/>
                    <a:lstStyle/>
                    <a:p>
                      <a:pPr marL="0" marR="0" lv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700"/>
                        </a:spcAft>
                        <a:buNone/>
                      </a:pPr>
                      <a:r>
                        <a:rPr lang="en-US" sz="1400" b="1" i="1" u="none" strike="noStrike" baseline="0" noProof="0">
                          <a:solidFill>
                            <a:srgbClr val="444C55"/>
                          </a:solidFill>
                          <a:effectLst/>
                          <a:latin typeface="Calibri"/>
                        </a:rPr>
                        <a:t>Momma’s Voices: Taking Steps to Engage Patient Partners in QI</a:t>
                      </a:r>
                    </a:p>
                    <a:p>
                      <a:pPr marL="0" marR="0" lv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700"/>
                        </a:spcAft>
                        <a:buNone/>
                      </a:pPr>
                      <a:r>
                        <a:rPr lang="en-US" sz="1400" b="1" i="0" u="none" strike="noStrike" noProof="0">
                          <a:solidFill>
                            <a:srgbClr val="E67356"/>
                          </a:solidFill>
                          <a:effectLst/>
                          <a:latin typeface="Calibri"/>
                        </a:rPr>
                        <a:t>Bekah Bischoff </a:t>
                      </a:r>
                      <a:r>
                        <a:rPr lang="en-US" sz="1200" b="1" i="0" u="none" strike="noStrike" noProof="0">
                          <a:solidFill>
                            <a:srgbClr val="E67356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en-US" sz="1400" b="1" i="0" u="none" strike="noStrike" noProof="0">
                          <a:solidFill>
                            <a:srgbClr val="E67356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  <a:p>
                      <a:pPr marL="0" marR="0" lv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700"/>
                        </a:spcAft>
                        <a:buNone/>
                      </a:pPr>
                      <a:r>
                        <a:rPr lang="en-US" sz="1400" b="1" i="0" u="none" strike="noStrike" noProof="0">
                          <a:solidFill>
                            <a:srgbClr val="E67356"/>
                          </a:solidFill>
                          <a:effectLst/>
                          <a:latin typeface="Calibri"/>
                        </a:rPr>
                        <a:t>Tamela Milan-Alexander, MPPA</a:t>
                      </a:r>
                    </a:p>
                  </a:txBody>
                  <a:tcPr marL="40445" marR="40445" marT="0" marB="0"/>
                </a:tc>
                <a:extLst>
                  <a:ext uri="{0D108BD9-81ED-4DB2-BD59-A6C34878D82A}">
                    <a16:rowId xmlns:a16="http://schemas.microsoft.com/office/drawing/2014/main" val="3080010313"/>
                  </a:ext>
                </a:extLst>
              </a:tr>
              <a:tr h="289820">
                <a:tc>
                  <a:txBody>
                    <a:bodyPr/>
                    <a:lstStyle/>
                    <a:p>
                      <a:pPr marL="0" lv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:30-2:45pm</a:t>
                      </a:r>
                    </a:p>
                  </a:txBody>
                  <a:tcPr marL="40445" marR="40445" marT="0" marB="0"/>
                </a:tc>
                <a:tc>
                  <a:txBody>
                    <a:bodyPr/>
                    <a:lstStyle/>
                    <a:p>
                      <a:pPr marL="0" lv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i="1" u="none" strike="noStrike" noProof="0">
                          <a:effectLst/>
                          <a:latin typeface="Calibri"/>
                        </a:rPr>
                        <a:t>Break</a:t>
                      </a:r>
                      <a:endParaRPr lang="en-US"/>
                    </a:p>
                  </a:txBody>
                  <a:tcPr marL="40445" marR="40445" marT="0" marB="0"/>
                </a:tc>
                <a:extLst>
                  <a:ext uri="{0D108BD9-81ED-4DB2-BD59-A6C34878D82A}">
                    <a16:rowId xmlns:a16="http://schemas.microsoft.com/office/drawing/2014/main" val="3692518413"/>
                  </a:ext>
                </a:extLst>
              </a:tr>
              <a:tr h="138323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2:45-4:15pm </a:t>
                      </a:r>
                    </a:p>
                  </a:txBody>
                  <a:tcPr marL="40445" marR="40445" marT="0" marB="0"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i="1" u="none" strike="noStrike" baseline="0" noProof="0">
                          <a:solidFill>
                            <a:srgbClr val="444C55"/>
                          </a:solidFill>
                          <a:effectLst/>
                          <a:latin typeface="Calibri"/>
                        </a:rPr>
                        <a:t>Breakout Sessions: Getting Ready for 2024</a:t>
                      </a:r>
                    </a:p>
                    <a:p>
                      <a:pPr lvl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i="0" u="none" strike="noStrike" noProof="0">
                          <a:solidFill>
                            <a:srgbClr val="E67356"/>
                          </a:solidFill>
                          <a:effectLst/>
                          <a:latin typeface="Calibri"/>
                        </a:rPr>
                        <a:t>A. </a:t>
                      </a:r>
                      <a:r>
                        <a:rPr lang="en-US" sz="1400" b="1" i="1" u="none" strike="noStrike" noProof="0">
                          <a:solidFill>
                            <a:srgbClr val="E67356"/>
                          </a:solidFill>
                          <a:effectLst/>
                          <a:latin typeface="Calibri"/>
                        </a:rPr>
                        <a:t>OB Teams Breakout Session </a:t>
                      </a:r>
                    </a:p>
                    <a:p>
                      <a:pPr lvl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i="0" u="none" strike="noStrike" noProof="0">
                          <a:solidFill>
                            <a:srgbClr val="E67356"/>
                          </a:solidFill>
                          <a:effectLst/>
                          <a:latin typeface="Calibri"/>
                        </a:rPr>
                        <a:t>B. </a:t>
                      </a:r>
                      <a:r>
                        <a:rPr lang="en-US" sz="1400" b="1" i="1" u="none" strike="noStrike" noProof="0">
                          <a:solidFill>
                            <a:srgbClr val="E67356"/>
                          </a:solidFill>
                          <a:effectLst/>
                          <a:latin typeface="Calibri"/>
                        </a:rPr>
                        <a:t>Neonatal Teams Breakout Session</a:t>
                      </a:r>
                      <a:r>
                        <a:rPr lang="en-US" sz="1400" b="1" i="0" u="none" strike="noStrike" noProof="0">
                          <a:solidFill>
                            <a:srgbClr val="E67356"/>
                          </a:solidFill>
                          <a:effectLst/>
                          <a:latin typeface="Calibri"/>
                        </a:rPr>
                        <a:t> </a:t>
                      </a:r>
                      <a:endParaRPr lang="en-US" sz="1400" b="1">
                        <a:solidFill>
                          <a:srgbClr val="E67356"/>
                        </a:solidFill>
                      </a:endParaRPr>
                    </a:p>
                    <a:p>
                      <a:pPr lvl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i="0" u="none" strike="noStrike" noProof="0">
                          <a:solidFill>
                            <a:srgbClr val="E67356"/>
                          </a:solidFill>
                          <a:effectLst/>
                          <a:latin typeface="Calibri"/>
                        </a:rPr>
                        <a:t>C. </a:t>
                      </a:r>
                      <a:r>
                        <a:rPr lang="en-US" sz="1400" b="1" i="1" u="none" strike="noStrike" noProof="0">
                          <a:solidFill>
                            <a:srgbClr val="E67356"/>
                          </a:solidFill>
                          <a:effectLst/>
                          <a:latin typeface="Calibri"/>
                        </a:rPr>
                        <a:t>Patient, Family, Community Engagement Breakout Session </a:t>
                      </a:r>
                      <a:endParaRPr lang="en-US" sz="1400" b="1" i="0" u="none" strike="noStrike" noProof="0">
                        <a:solidFill>
                          <a:srgbClr val="E67356"/>
                        </a:solidFill>
                        <a:effectLst/>
                        <a:latin typeface="Calibri"/>
                      </a:endParaRPr>
                    </a:p>
                  </a:txBody>
                  <a:tcPr marL="40445" marR="40445" marT="0" marB="0"/>
                </a:tc>
                <a:extLst>
                  <a:ext uri="{0D108BD9-81ED-4DB2-BD59-A6C34878D82A}">
                    <a16:rowId xmlns:a16="http://schemas.microsoft.com/office/drawing/2014/main" val="2884049616"/>
                  </a:ext>
                </a:extLst>
              </a:tr>
              <a:tr h="1053892">
                <a:tc>
                  <a:txBody>
                    <a:bodyPr/>
                    <a:lstStyle/>
                    <a:p>
                      <a:pPr marL="0" lv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>
                          <a:effectLst/>
                        </a:rPr>
                        <a:t>4:15-4:30pm</a:t>
                      </a:r>
                    </a:p>
                  </a:txBody>
                  <a:tcPr marL="40445" marR="40445" marT="0" marB="0"/>
                </a:tc>
                <a:tc>
                  <a:txBody>
                    <a:bodyPr/>
                    <a:lstStyle/>
                    <a:p>
                      <a:pPr marL="0" lv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700"/>
                        </a:spcAft>
                        <a:buNone/>
                      </a:pPr>
                      <a:r>
                        <a:rPr lang="en-US" sz="1400" b="1" i="1" u="none" strike="noStrike" noProof="0">
                          <a:effectLst/>
                          <a:latin typeface="Calibri"/>
                        </a:rPr>
                        <a:t>Wrap-up, Evaluation, &amp; Raffle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400" b="1" i="0" u="none" strike="noStrike" baseline="0" noProof="0">
                          <a:solidFill>
                            <a:srgbClr val="E67356"/>
                          </a:solidFill>
                          <a:effectLst/>
                          <a:latin typeface="Calibri"/>
                        </a:rPr>
                        <a:t>Ann Borders, MD, MSc, MPH 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US" sz="1400" b="1" i="0" u="none" strike="noStrike" baseline="0" noProof="0">
                          <a:solidFill>
                            <a:srgbClr val="E67356"/>
                          </a:solidFill>
                          <a:effectLst/>
                          <a:latin typeface="Calibri"/>
                        </a:rPr>
                        <a:t>Patricia Lee Kin</a:t>
                      </a:r>
                      <a:r>
                        <a:rPr lang="en-US" sz="1400" b="1" i="0" u="none" strike="noStrike" kern="1200" baseline="0" noProof="0">
                          <a:solidFill>
                            <a:srgbClr val="E67356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g, </a:t>
                      </a:r>
                      <a:r>
                        <a:rPr lang="en-US" sz="1400" b="1" i="0" u="none" strike="noStrike" kern="1200" baseline="0">
                          <a:solidFill>
                            <a:srgbClr val="E67356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hD, MSW</a:t>
                      </a:r>
                      <a:endParaRPr lang="en-US" sz="1400" b="1" i="0" u="none" strike="noStrike" kern="1200" baseline="0" noProof="0">
                        <a:solidFill>
                          <a:srgbClr val="E67356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40445" marR="40445" marT="0" marB="0"/>
                </a:tc>
                <a:extLst>
                  <a:ext uri="{0D108BD9-81ED-4DB2-BD59-A6C34878D82A}">
                    <a16:rowId xmlns:a16="http://schemas.microsoft.com/office/drawing/2014/main" val="7648413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004050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rmAutofit/>
          </a:bodyPr>
          <a:lstStyle/>
          <a:p>
            <a:pPr>
              <a:buClr>
                <a:srgbClr val="AEB3B7"/>
              </a:buClr>
              <a:buSzPts val="900"/>
            </a:pPr>
            <a:fld id="{00000000-1234-1234-1234-123412341234}" type="slidenum">
              <a:rPr lang="en"/>
              <a:pPr>
                <a:buClr>
                  <a:srgbClr val="AEB3B7"/>
                </a:buClr>
                <a:buSzPts val="900"/>
              </a:pPr>
              <a:t>30</a:t>
            </a:fld>
            <a:endParaRPr/>
          </a:p>
        </p:txBody>
      </p:sp>
      <p:sp>
        <p:nvSpPr>
          <p:cNvPr id="73" name="Google Shape;73;p15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l">
              <a:buClr>
                <a:srgbClr val="919497"/>
              </a:buClr>
              <a:buSzPts val="900"/>
            </a:pPr>
            <a:r>
              <a:rPr lang="en"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pic>
        <p:nvPicPr>
          <p:cNvPr id="75" name="Google Shape;75;p15"/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438" y="0"/>
            <a:ext cx="6173327" cy="6397191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1" descr="A text on a black background&#10;&#10;Description automatically generated">
            <a:extLst>
              <a:ext uri="{FF2B5EF4-FFF2-40B4-BE49-F238E27FC236}">
                <a16:creationId xmlns:a16="http://schemas.microsoft.com/office/drawing/2014/main" id="{523C1B17-9FB9-F580-DFDC-AE55C8DB20B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2136" y="2198002"/>
            <a:ext cx="6107502" cy="4201655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F55A8D4D-AA29-FDFD-9014-C7A1EAC26F3F}"/>
              </a:ext>
            </a:extLst>
          </p:cNvPr>
          <p:cNvSpPr/>
          <p:nvPr/>
        </p:nvSpPr>
        <p:spPr>
          <a:xfrm>
            <a:off x="6799951" y="-90"/>
            <a:ext cx="5391508" cy="143773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EE402B4-4974-639D-FCAF-5A1C3B69A8E5}"/>
              </a:ext>
            </a:extLst>
          </p:cNvPr>
          <p:cNvSpPr txBox="1"/>
          <p:nvPr/>
        </p:nvSpPr>
        <p:spPr>
          <a:xfrm>
            <a:off x="7506329" y="574195"/>
            <a:ext cx="3245149" cy="12926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900" b="1">
                <a:solidFill>
                  <a:schemeClr val="accent1">
                    <a:lumMod val="50000"/>
                  </a:schemeClr>
                </a:solidFill>
                <a:cs typeface="Arial"/>
              </a:rPr>
              <a:t>ILPQC </a:t>
            </a:r>
            <a:endParaRPr lang="en-US" sz="3900">
              <a:solidFill>
                <a:schemeClr val="accent1">
                  <a:lumMod val="50000"/>
                </a:schemeClr>
              </a:solidFill>
              <a:cs typeface="Arial"/>
            </a:endParaRPr>
          </a:p>
          <a:p>
            <a:r>
              <a:rPr lang="en-US" sz="3900" b="1">
                <a:solidFill>
                  <a:schemeClr val="accent1">
                    <a:lumMod val="50000"/>
                  </a:schemeClr>
                </a:solidFill>
                <a:cs typeface="Arial"/>
              </a:rPr>
              <a:t>2024 Events</a:t>
            </a:r>
            <a:endParaRPr lang="en-US" sz="3900">
              <a:solidFill>
                <a:schemeClr val="accent1">
                  <a:lumMod val="50000"/>
                </a:schemeClr>
              </a:solidFill>
              <a:cs typeface="Arial"/>
            </a:endParaRPr>
          </a:p>
        </p:txBody>
      </p:sp>
      <p:pic>
        <p:nvPicPr>
          <p:cNvPr id="5" name="Graphic 4" descr="Balloons outline">
            <a:extLst>
              <a:ext uri="{FF2B5EF4-FFF2-40B4-BE49-F238E27FC236}">
                <a16:creationId xmlns:a16="http://schemas.microsoft.com/office/drawing/2014/main" id="{3D4B6F7D-A11F-CCC8-5417-D75A568C894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87064" y="139460"/>
            <a:ext cx="914400" cy="914400"/>
          </a:xfrm>
          <a:prstGeom prst="rect">
            <a:avLst/>
          </a:prstGeom>
        </p:spPr>
      </p:pic>
      <p:pic>
        <p:nvPicPr>
          <p:cNvPr id="6" name="Graphic 5" descr="Dance outline">
            <a:extLst>
              <a:ext uri="{FF2B5EF4-FFF2-40B4-BE49-F238E27FC236}">
                <a16:creationId xmlns:a16="http://schemas.microsoft.com/office/drawing/2014/main" id="{55ABA120-0EAA-4F33-E33B-58FC2CB20B5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70234" y="128964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85005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FF9F46-075A-7D44-87A7-6A4A9F14E6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8401" y="493618"/>
            <a:ext cx="4613127" cy="2566692"/>
          </a:xfrm>
        </p:spPr>
        <p:txBody>
          <a:bodyPr>
            <a:normAutofit/>
          </a:bodyPr>
          <a:lstStyle/>
          <a:p>
            <a:pPr algn="ctr"/>
            <a:r>
              <a:rPr lang="en-US" sz="4800">
                <a:solidFill>
                  <a:schemeClr val="tx2">
                    <a:lumMod val="50000"/>
                  </a:schemeClr>
                </a:solidFill>
              </a:rPr>
              <a:t>Thanks to our Funder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3D19BCB-87EC-2242-A60F-BDD660F18F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3432" y="5248519"/>
            <a:ext cx="5194433" cy="986569"/>
          </a:xfrm>
        </p:spPr>
        <p:txBody>
          <a:bodyPr>
            <a:normAutofit/>
          </a:bodyPr>
          <a:lstStyle/>
          <a:p>
            <a:r>
              <a:rPr lang="en-US" sz="2800"/>
              <a:t>In kind support:</a:t>
            </a:r>
          </a:p>
        </p:txBody>
      </p:sp>
      <p:sp>
        <p:nvSpPr>
          <p:cNvPr id="5" name="Rectangle 4"/>
          <p:cNvSpPr/>
          <p:nvPr/>
        </p:nvSpPr>
        <p:spPr>
          <a:xfrm>
            <a:off x="5971607" y="3244334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pic>
        <p:nvPicPr>
          <p:cNvPr id="1026" name="Picture 2" descr="Laboratory of Neurogenomics and Novel Therapies Web Site – Research and  Patient Care at Northwestern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1492" y="5826682"/>
            <a:ext cx="1627118" cy="596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File:US CDC logo.svg - Wikimedia Commons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74461" y="4045643"/>
            <a:ext cx="1154729" cy="872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s://cpcqc.org/wp-content/uploads/2021/03/aim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68647" y="4069152"/>
            <a:ext cx="1382001" cy="735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DPH | Protecting health, improving lives.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84" y="3246774"/>
            <a:ext cx="1698317" cy="469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DHS Logo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297" b="97253" l="200" r="100000">
                        <a14:foregroundMark x1="31000" y1="30220" x2="31000" y2="30220"/>
                        <a14:foregroundMark x1="55600" y1="60989" x2="55600" y2="60989"/>
                        <a14:foregroundMark x1="56000" y1="59890" x2="56000" y2="59890"/>
                        <a14:foregroundMark x1="56400" y1="57143" x2="56400" y2="57143"/>
                        <a14:foregroundMark x1="53200" y1="63736" x2="53200" y2="63736"/>
                        <a14:foregroundMark x1="52800" y1="67582" x2="52800" y2="67582"/>
                        <a14:foregroundMark x1="51200" y1="72527" x2="51200" y2="72527"/>
                        <a14:foregroundMark x1="54000" y1="71429" x2="54000" y2="71429"/>
                        <a14:foregroundMark x1="56800" y1="69780" x2="56800" y2="69780"/>
                        <a14:foregroundMark x1="58400" y1="75824" x2="58400" y2="75824"/>
                        <a14:foregroundMark x1="57000" y1="74725" x2="57000" y2="74725"/>
                        <a14:foregroundMark x1="55800" y1="53846" x2="55800" y2="53846"/>
                        <a14:foregroundMark x1="55400" y1="45604" x2="55400" y2="45604"/>
                        <a14:foregroundMark x1="61600" y1="39560" x2="61600" y2="39560"/>
                        <a14:foregroundMark x1="62000" y1="50000" x2="62000" y2="50000"/>
                        <a14:foregroundMark x1="60400" y1="57692" x2="60400" y2="57692"/>
                        <a14:foregroundMark x1="61600" y1="58242" x2="61600" y2="58242"/>
                        <a14:foregroundMark x1="61400" y1="67033" x2="61400" y2="67033"/>
                        <a14:foregroundMark x1="65800" y1="57143" x2="65800" y2="57143"/>
                        <a14:foregroundMark x1="19600" y1="86264" x2="19600" y2="86264"/>
                        <a14:foregroundMark x1="23400" y1="90659" x2="23400" y2="90659"/>
                        <a14:foregroundMark x1="25000" y1="95055" x2="25000" y2="95055"/>
                        <a14:foregroundMark x1="26400" y1="89011" x2="26400" y2="89011"/>
                        <a14:foregroundMark x1="25200" y1="89560" x2="25200" y2="89560"/>
                        <a14:foregroundMark x1="28200" y1="93407" x2="28200" y2="93407"/>
                        <a14:foregroundMark x1="29800" y1="87912" x2="29800" y2="87912"/>
                        <a14:foregroundMark x1="31200" y1="89560" x2="31200" y2="89560"/>
                        <a14:foregroundMark x1="29400" y1="93956" x2="29400" y2="93956"/>
                        <a14:foregroundMark x1="32800" y1="89560" x2="32800" y2="89560"/>
                        <a14:foregroundMark x1="37000" y1="89011" x2="37000" y2="89011"/>
                        <a14:foregroundMark x1="41600" y1="91758" x2="41600" y2="91758"/>
                        <a14:foregroundMark x1="42600" y1="95604" x2="42600" y2="95604"/>
                        <a14:foregroundMark x1="46800" y1="88462" x2="46800" y2="88462"/>
                        <a14:foregroundMark x1="48200" y1="87363" x2="48200" y2="87363"/>
                        <a14:foregroundMark x1="51800" y1="90110" x2="51800" y2="90110"/>
                        <a14:foregroundMark x1="55200" y1="88462" x2="55200" y2="88462"/>
                        <a14:foregroundMark x1="59400" y1="89560" x2="59400" y2="89560"/>
                        <a14:foregroundMark x1="62200" y1="90110" x2="62200" y2="90110"/>
                        <a14:foregroundMark x1="64000" y1="90110" x2="64000" y2="90110"/>
                        <a14:foregroundMark x1="65400" y1="90110" x2="65400" y2="90110"/>
                        <a14:foregroundMark x1="71800" y1="90659" x2="71800" y2="90659"/>
                        <a14:foregroundMark x1="73600" y1="89011" x2="73600" y2="89011"/>
                        <a14:foregroundMark x1="70400" y1="88462" x2="70400" y2="88462"/>
                        <a14:foregroundMark x1="43600" y1="94505" x2="43600" y2="94505"/>
                        <a14:foregroundMark x1="78800" y1="88462" x2="78800" y2="88462"/>
                        <a14:foregroundMark x1="66200" y1="62637" x2="66200" y2="62637"/>
                        <a14:foregroundMark x1="90200" y1="85165" x2="90200" y2="85165"/>
                        <a14:foregroundMark x1="90200" y1="89011" x2="90200" y2="89011"/>
                        <a14:foregroundMark x1="87800" y1="94505" x2="87800" y2="94505"/>
                        <a14:foregroundMark x1="84800" y1="88462" x2="84800" y2="88462"/>
                        <a14:foregroundMark x1="91800" y1="89011" x2="91800" y2="89011"/>
                        <a14:foregroundMark x1="91400" y1="90110" x2="91400" y2="90110"/>
                        <a14:foregroundMark x1="93200" y1="89011" x2="93200" y2="89011"/>
                        <a14:foregroundMark x1="93400" y1="95055" x2="93400" y2="95055"/>
                        <a14:foregroundMark x1="94600" y1="88462" x2="94600" y2="88462"/>
                        <a14:foregroundMark x1="96200" y1="94505" x2="96200" y2="94505"/>
                        <a14:foregroundMark x1="97600" y1="94505" x2="97600" y2="94505"/>
                        <a14:foregroundMark x1="68400" y1="87363" x2="68400" y2="87363"/>
                        <a14:foregroundMark x1="72000" y1="95604" x2="72000" y2="95604"/>
                        <a14:foregroundMark x1="70400" y1="94505" x2="70400" y2="94505"/>
                        <a14:foregroundMark x1="81800" y1="93956" x2="81800" y2="93956"/>
                        <a14:foregroundMark x1="82800" y1="96154" x2="82800" y2="96154"/>
                        <a14:foregroundMark x1="99400" y1="93407" x2="99400" y2="93407"/>
                        <a14:foregroundMark x1="97600" y1="90110" x2="97600" y2="90110"/>
                        <a14:foregroundMark x1="94800" y1="95055" x2="94800" y2="95055"/>
                        <a14:foregroundMark x1="96400" y1="89560" x2="96400" y2="89560"/>
                        <a14:foregroundMark x1="99000" y1="88462" x2="99000" y2="88462"/>
                        <a14:foregroundMark x1="97400" y1="87912" x2="97400" y2="87912"/>
                        <a14:foregroundMark x1="97200" y1="89011" x2="97200" y2="89011"/>
                        <a14:foregroundMark x1="97200" y1="90110" x2="97200" y2="90110"/>
                        <a14:foregroundMark x1="45200" y1="89560" x2="45200" y2="89560"/>
                        <a14:foregroundMark x1="53600" y1="89560" x2="53600" y2="89560"/>
                        <a14:foregroundMark x1="43600" y1="90110" x2="43600" y2="90110"/>
                        <a14:foregroundMark x1="43600" y1="87912" x2="43600" y2="87912"/>
                        <a14:foregroundMark x1="15000" y1="88462" x2="15000" y2="88462"/>
                        <a14:foregroundMark x1="15000" y1="94505" x2="15000" y2="94505"/>
                        <a14:foregroundMark x1="13600" y1="84066" x2="13600" y2="84066"/>
                        <a14:foregroundMark x1="13600" y1="90659" x2="13600" y2="90659"/>
                        <a14:foregroundMark x1="12400" y1="90110" x2="12400" y2="90110"/>
                        <a14:foregroundMark x1="800" y1="86813" x2="800" y2="86813"/>
                        <a14:foregroundMark x1="2400" y1="85714" x2="2400" y2="85714"/>
                        <a14:foregroundMark x1="4200" y1="85714" x2="4200" y2="85714"/>
                        <a14:foregroundMark x1="5600" y1="87912" x2="5600" y2="87912"/>
                        <a14:foregroundMark x1="7200" y1="88462" x2="7200" y2="88462"/>
                        <a14:foregroundMark x1="16800" y1="93407" x2="16800" y2="93407"/>
                        <a14:foregroundMark x1="16600" y1="88462" x2="16600" y2="88462"/>
                        <a14:foregroundMark x1="38800" y1="91209" x2="38800" y2="91209"/>
                        <a14:foregroundMark x1="40600" y1="90659" x2="40600" y2="90659"/>
                        <a14:foregroundMark x1="53600" y1="93407" x2="53600" y2="93407"/>
                        <a14:foregroundMark x1="35000" y1="92308" x2="35000" y2="92308"/>
                        <a14:foregroundMark x1="31400" y1="92857" x2="31400" y2="92857"/>
                        <a14:foregroundMark x1="24800" y1="87912" x2="24800" y2="87912"/>
                        <a14:foregroundMark x1="19800" y1="37912" x2="19800" y2="37912"/>
                        <a14:foregroundMark x1="19200" y1="34066" x2="19200" y2="34066"/>
                        <a14:foregroundMark x1="18800" y1="33516" x2="18800" y2="33516"/>
                        <a14:foregroundMark x1="20400" y1="35165" x2="20400" y2="35165"/>
                        <a14:foregroundMark x1="19400" y1="49451" x2="19400" y2="49451"/>
                        <a14:foregroundMark x1="3600" y1="21978" x2="3600" y2="21978"/>
                        <a14:foregroundMark x1="4400" y1="19780" x2="4400" y2="19780"/>
                        <a14:foregroundMark x1="4800" y1="19780" x2="4800" y2="19780"/>
                        <a14:foregroundMark x1="5600" y1="18681" x2="5600" y2="18681"/>
                        <a14:foregroundMark x1="5600" y1="18681" x2="5600" y2="18681"/>
                        <a14:foregroundMark x1="5800" y1="17033" x2="5800" y2="17033"/>
                        <a14:foregroundMark x1="6200" y1="14835" x2="6200" y2="14835"/>
                        <a14:foregroundMark x1="7000" y1="14286" x2="7000" y2="14286"/>
                        <a14:foregroundMark x1="8600" y1="13187" x2="8600" y2="13187"/>
                        <a14:foregroundMark x1="9800" y1="10989" x2="9800" y2="10989"/>
                        <a14:foregroundMark x1="11800" y1="8791" x2="12000" y2="8791"/>
                        <a14:foregroundMark x1="12000" y1="8791" x2="12000" y2="8791"/>
                        <a14:foregroundMark x1="13000" y1="7692" x2="13000" y2="7692"/>
                        <a14:foregroundMark x1="14000" y1="7143" x2="14000" y2="7143"/>
                        <a14:foregroundMark x1="15600" y1="6593" x2="15600" y2="6593"/>
                        <a14:foregroundMark x1="16400" y1="6593" x2="16400" y2="6593"/>
                        <a14:foregroundMark x1="17000" y1="6593" x2="17000" y2="6593"/>
                        <a14:foregroundMark x1="18200" y1="7692" x2="18200" y2="7692"/>
                        <a14:foregroundMark x1="18800" y1="8242" x2="18800" y2="8242"/>
                        <a14:foregroundMark x1="19600" y1="8791" x2="19800" y2="8791"/>
                        <a14:foregroundMark x1="21000" y1="10440" x2="21000" y2="10440"/>
                        <a14:foregroundMark x1="21200" y1="10989" x2="21200" y2="10989"/>
                        <a14:foregroundMark x1="21800" y1="12637" x2="21800" y2="12637"/>
                        <a14:foregroundMark x1="22400" y1="13187" x2="22400" y2="13187"/>
                        <a14:foregroundMark x1="22600" y1="15385" x2="22600" y2="15385"/>
                        <a14:foregroundMark x1="23800" y1="18681" x2="23800" y2="18681"/>
                        <a14:foregroundMark x1="24400" y1="20879" x2="24400" y2="20879"/>
                        <a14:foregroundMark x1="24600" y1="25824" x2="24600" y2="25824"/>
                        <a14:foregroundMark x1="24600" y1="30220" x2="24600" y2="30220"/>
                        <a14:foregroundMark x1="25600" y1="34066" x2="25600" y2="34066"/>
                        <a14:foregroundMark x1="25800" y1="36813" x2="25800" y2="37912"/>
                        <a14:foregroundMark x1="24800" y1="46154" x2="24800" y2="46154"/>
                        <a14:foregroundMark x1="25000" y1="51648" x2="25000" y2="51648"/>
                        <a14:foregroundMark x1="24600" y1="55495" x2="24600" y2="55495"/>
                        <a14:foregroundMark x1="26000" y1="54945" x2="26000" y2="54945"/>
                        <a14:foregroundMark x1="22200" y1="58242" x2="22200" y2="58242"/>
                        <a14:foregroundMark x1="19200" y1="58791" x2="19200" y2="58791"/>
                        <a14:foregroundMark x1="15400" y1="60989" x2="15400" y2="60989"/>
                        <a14:foregroundMark x1="8600" y1="52747" x2="8600" y2="52747"/>
                        <a14:foregroundMark x1="6400" y1="32967" x2="6400" y2="32967"/>
                        <a14:foregroundMark x1="8200" y1="27473" x2="8200" y2="27473"/>
                        <a14:foregroundMark x1="11600" y1="32418" x2="11600" y2="32418"/>
                        <a14:foregroundMark x1="11400" y1="29670" x2="11400" y2="29670"/>
                        <a14:foregroundMark x1="8200" y1="39560" x2="8200" y2="39560"/>
                        <a14:foregroundMark x1="3800" y1="42308" x2="3800" y2="42308"/>
                        <a14:foregroundMark x1="1800" y1="58791" x2="1800" y2="58791"/>
                        <a14:foregroundMark x1="3600" y1="63187" x2="3800" y2="63736"/>
                        <a14:foregroundMark x1="5000" y1="65934" x2="5000" y2="65934"/>
                        <a14:foregroundMark x1="23400" y1="15934" x2="23400" y2="15934"/>
                        <a14:foregroundMark x1="25600" y1="24725" x2="25600" y2="24725"/>
                        <a14:foregroundMark x1="63600" y1="62637" x2="63600" y2="62637"/>
                        <a14:foregroundMark x1="63400" y1="69780" x2="63400" y2="69780"/>
                        <a14:foregroundMark x1="60600" y1="89560" x2="60600" y2="89560"/>
                        <a14:foregroundMark x1="19800" y1="95055" x2="19800" y2="95055"/>
                        <a14:foregroundMark x1="31600" y1="95604" x2="31600" y2="95604"/>
                        <a14:foregroundMark x1="10600" y1="89011" x2="10600" y2="89011"/>
                        <a14:foregroundMark x1="9200" y1="94505" x2="9200" y2="94505"/>
                        <a14:foregroundMark x1="5600" y1="84615" x2="5600" y2="84615"/>
                        <a14:foregroundMark x1="4000" y1="94505" x2="4000" y2="94505"/>
                        <a14:foregroundMark x1="22000" y1="91209" x2="22000" y2="91209"/>
                        <a14:foregroundMark x1="10200" y1="92857" x2="10200" y2="92857"/>
                        <a14:foregroundMark x1="10600" y1="94505" x2="10600" y2="94505"/>
                        <a14:foregroundMark x1="80200" y1="86264" x2="80200" y2="86264"/>
                        <a14:foregroundMark x1="80400" y1="92308" x2="80400" y2="92308"/>
                        <a14:foregroundMark x1="79400" y1="96154" x2="79400" y2="96154"/>
                        <a14:foregroundMark x1="75600" y1="91209" x2="75600" y2="91209"/>
                        <a14:foregroundMark x1="86600" y1="89011" x2="86600" y2="89011"/>
                        <a14:foregroundMark x1="89000" y1="88462" x2="89000" y2="88462"/>
                        <a14:foregroundMark x1="83600" y1="89560" x2="83600" y2="89560"/>
                        <a14:foregroundMark x1="95800" y1="87363" x2="95800" y2="87363"/>
                        <a14:foregroundMark x1="83600" y1="94505" x2="83600" y2="94505"/>
                        <a14:foregroundMark x1="30000" y1="92308" x2="30000" y2="92308"/>
                        <a14:backgroundMark x1="24400" y1="89560" x2="24400" y2="89560"/>
                        <a14:backgroundMark x1="27600" y1="91758" x2="27600" y2="91758"/>
                        <a14:backgroundMark x1="30400" y1="93407" x2="30400" y2="93407"/>
                        <a14:backgroundMark x1="30400" y1="90110" x2="30400" y2="90110"/>
                        <a14:backgroundMark x1="36200" y1="91209" x2="36200" y2="91209"/>
                        <a14:backgroundMark x1="41200" y1="90659" x2="41200" y2="90659"/>
                        <a14:backgroundMark x1="42800" y1="93407" x2="42800" y2="93407"/>
                        <a14:backgroundMark x1="43000" y1="89560" x2="43000" y2="89560"/>
                        <a14:backgroundMark x1="52800" y1="91209" x2="52800" y2="91209"/>
                        <a14:backgroundMark x1="71200" y1="93407" x2="71200" y2="93407"/>
                        <a14:backgroundMark x1="71200" y1="89560" x2="71200" y2="89560"/>
                        <a14:backgroundMark x1="79400" y1="87363" x2="79400" y2="87363"/>
                        <a14:backgroundMark x1="82400" y1="89011" x2="82400" y2="89011"/>
                        <a14:backgroundMark x1="90200" y1="86813" x2="90200" y2="86813"/>
                        <a14:backgroundMark x1="94000" y1="94505" x2="94000" y2="94505"/>
                        <a14:backgroundMark x1="93600" y1="96154" x2="93600" y2="96154"/>
                        <a14:backgroundMark x1="98400" y1="93956" x2="98400" y2="93956"/>
                        <a14:backgroundMark x1="95600" y1="89560" x2="95600" y2="89560"/>
                        <a14:backgroundMark x1="95200" y1="93407" x2="95200" y2="93407"/>
                        <a14:backgroundMark x1="97000" y1="89560" x2="97000" y2="89560"/>
                        <a14:backgroundMark x1="98400" y1="89560" x2="98400" y2="89560"/>
                        <a14:backgroundMark x1="21000" y1="90659" x2="21000" y2="90659"/>
                        <a14:backgroundMark x1="11000" y1="92308" x2="11000" y2="92308"/>
                        <a14:backgroundMark x1="16000" y1="89011" x2="16000" y2="89011"/>
                        <a14:backgroundMark x1="9800" y1="91209" x2="9800" y2="91209"/>
                        <a14:backgroundMark x1="82600" y1="93956" x2="82600" y2="939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37094" y="3181076"/>
            <a:ext cx="1556853" cy="566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0003" y="3181076"/>
            <a:ext cx="1307805" cy="59969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805" y="5749326"/>
            <a:ext cx="1267057" cy="54497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833" y="5687308"/>
            <a:ext cx="1949464" cy="671127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254" y="6310429"/>
            <a:ext cx="2140342" cy="428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3235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FEA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endParaRPr lang="en-US" sz="2800">
              <a:ea typeface="+mn-lt"/>
              <a:cs typeface="+mn-lt"/>
            </a:endParaRPr>
          </a:p>
          <a:p>
            <a:pPr>
              <a:spcBef>
                <a:spcPts val="0"/>
              </a:spcBef>
            </a:pPr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970" y="562034"/>
            <a:ext cx="3036235" cy="3712203"/>
          </a:xfrm>
          <a:noFill/>
        </p:spPr>
        <p:txBody>
          <a:bodyPr/>
          <a:lstStyle/>
          <a:p>
            <a:pPr algn="ctr"/>
            <a:r>
              <a:rPr lang="en-US">
                <a:ea typeface="Lato Medium"/>
                <a:cs typeface="Lato Medium"/>
              </a:rPr>
              <a:t>2023 Attendee Resource Folder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7" name="Content Placeholder 5" descr="Shape&#10;&#10;Description automatically generated">
            <a:extLst>
              <a:ext uri="{FF2B5EF4-FFF2-40B4-BE49-F238E27FC236}">
                <a16:creationId xmlns:a16="http://schemas.microsoft.com/office/drawing/2014/main" id="{5C8FB445-19C7-88FA-3D27-10BE7D2737C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0625" y="294999"/>
            <a:ext cx="9726164" cy="702240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1480196-FA5C-29BB-BE06-592AB9DE8D9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-120000">
            <a:off x="9208544" y="5483563"/>
            <a:ext cx="1548667" cy="706138"/>
          </a:xfrm>
          <a:prstGeom prst="rect">
            <a:avLst/>
          </a:prstGeom>
        </p:spPr>
      </p:pic>
      <p:sp>
        <p:nvSpPr>
          <p:cNvPr id="15" name="Explosion 2 9">
            <a:extLst>
              <a:ext uri="{FF2B5EF4-FFF2-40B4-BE49-F238E27FC236}">
                <a16:creationId xmlns:a16="http://schemas.microsoft.com/office/drawing/2014/main" id="{5CFD3B86-C241-8DF6-CF5F-70A23D7616BE}"/>
              </a:ext>
            </a:extLst>
          </p:cNvPr>
          <p:cNvSpPr/>
          <p:nvPr/>
        </p:nvSpPr>
        <p:spPr>
          <a:xfrm rot="234055">
            <a:off x="3518236" y="4853072"/>
            <a:ext cx="2777792" cy="1490524"/>
          </a:xfrm>
          <a:prstGeom prst="irregularSeal2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400"/>
              <a:t>Great ILPQC Resources for your team</a:t>
            </a:r>
            <a:endParaRPr lang="en-US" sz="1400"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602B8A5-5BA4-E8F5-C84A-1FD0496A5FE3}"/>
              </a:ext>
            </a:extLst>
          </p:cNvPr>
          <p:cNvSpPr txBox="1"/>
          <p:nvPr/>
        </p:nvSpPr>
        <p:spPr>
          <a:xfrm rot="300000">
            <a:off x="3212989" y="898065"/>
            <a:ext cx="4493311" cy="403956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Aft>
                <a:spcPts val="300"/>
              </a:spcAft>
              <a:buFont typeface="Arial"/>
              <a:buChar char="•"/>
            </a:pPr>
            <a:r>
              <a:rPr lang="en-US" sz="1600">
                <a:latin typeface="Arial"/>
                <a:ea typeface="+mn-lt"/>
                <a:cs typeface="+mn-lt"/>
              </a:rPr>
              <a:t>Respectful Care flyer </a:t>
            </a:r>
            <a:endParaRPr lang="en-US"/>
          </a:p>
          <a:p>
            <a:pPr marL="285750" indent="-285750">
              <a:spcAft>
                <a:spcPts val="300"/>
              </a:spcAft>
              <a:buFont typeface="Arial"/>
              <a:buChar char="•"/>
            </a:pPr>
            <a:r>
              <a:rPr lang="en-US" sz="1600">
                <a:latin typeface="Arial"/>
                <a:ea typeface="+mn-lt"/>
                <a:cs typeface="+mn-lt"/>
              </a:rPr>
              <a:t>Respectful Care sign off</a:t>
            </a:r>
          </a:p>
          <a:p>
            <a:pPr marL="285750" indent="-285750">
              <a:spcAft>
                <a:spcPts val="300"/>
              </a:spcAft>
              <a:buFont typeface="Arial"/>
              <a:buChar char="•"/>
            </a:pPr>
            <a:r>
              <a:rPr lang="en-US" sz="1600">
                <a:latin typeface="Arial"/>
                <a:ea typeface="+mn-lt"/>
                <a:cs typeface="+mn-lt"/>
              </a:rPr>
              <a:t>PREM Survey</a:t>
            </a:r>
          </a:p>
          <a:p>
            <a:pPr marL="285750" indent="-285750">
              <a:spcAft>
                <a:spcPts val="300"/>
              </a:spcAft>
              <a:buFont typeface="Arial"/>
              <a:buChar char="•"/>
            </a:pPr>
            <a:r>
              <a:rPr lang="en-US" sz="1600">
                <a:latin typeface="Arial"/>
                <a:ea typeface="+mn-lt"/>
                <a:cs typeface="+mn-lt"/>
              </a:rPr>
              <a:t>PREM Report Flyer</a:t>
            </a:r>
          </a:p>
          <a:p>
            <a:pPr marL="285750" indent="-285750">
              <a:spcAft>
                <a:spcPts val="300"/>
              </a:spcAft>
              <a:buFont typeface="Arial"/>
              <a:buChar char="•"/>
            </a:pPr>
            <a:r>
              <a:rPr lang="en-US" sz="1600">
                <a:latin typeface="Arial"/>
                <a:ea typeface="+mn-lt"/>
                <a:cs typeface="+mn-lt"/>
              </a:rPr>
              <a:t>Steps to Engaging Patient Partners</a:t>
            </a:r>
          </a:p>
          <a:p>
            <a:pPr marL="285750" indent="-285750">
              <a:spcAft>
                <a:spcPts val="300"/>
              </a:spcAft>
              <a:buFont typeface="Arial"/>
              <a:buChar char="•"/>
            </a:pPr>
            <a:r>
              <a:rPr lang="en-US" sz="1600">
                <a:latin typeface="Arial"/>
                <a:ea typeface="+mn-lt"/>
                <a:cs typeface="+mn-lt"/>
              </a:rPr>
              <a:t>Patient, Family Engagement Flyer</a:t>
            </a:r>
          </a:p>
          <a:p>
            <a:pPr marL="285750" indent="-285750">
              <a:spcAft>
                <a:spcPts val="300"/>
              </a:spcAft>
              <a:buFont typeface="Arial"/>
              <a:buChar char="•"/>
            </a:pPr>
            <a:r>
              <a:rPr lang="en-US" sz="1600">
                <a:latin typeface="Arial"/>
                <a:ea typeface="+mn-lt"/>
                <a:cs typeface="+mn-lt"/>
              </a:rPr>
              <a:t>Doula Flyer</a:t>
            </a:r>
          </a:p>
          <a:p>
            <a:pPr marL="285750" indent="-285750">
              <a:spcAft>
                <a:spcPts val="300"/>
              </a:spcAft>
              <a:buFont typeface="Arial"/>
              <a:buChar char="•"/>
            </a:pPr>
            <a:r>
              <a:rPr lang="en-US" sz="1600">
                <a:latin typeface="Arial"/>
                <a:ea typeface="+mn-lt"/>
                <a:cs typeface="+mn-lt"/>
              </a:rPr>
              <a:t>Find Help One Pager</a:t>
            </a:r>
          </a:p>
          <a:p>
            <a:pPr marL="285750" indent="-285750">
              <a:spcAft>
                <a:spcPts val="300"/>
              </a:spcAft>
              <a:buFont typeface="Arial"/>
              <a:buChar char="•"/>
            </a:pPr>
            <a:r>
              <a:rPr lang="en-US" sz="1600">
                <a:latin typeface="Arial"/>
                <a:ea typeface="+mn-lt"/>
                <a:cs typeface="+mn-lt"/>
              </a:rPr>
              <a:t>PVB Fallout Review Form</a:t>
            </a:r>
          </a:p>
          <a:p>
            <a:pPr marL="285750" indent="-285750">
              <a:spcAft>
                <a:spcPts val="300"/>
              </a:spcAft>
              <a:buFont typeface="Arial"/>
              <a:buChar char="•"/>
            </a:pPr>
            <a:r>
              <a:rPr lang="en-US" sz="1600">
                <a:latin typeface="Arial"/>
                <a:ea typeface="+mn-lt"/>
                <a:cs typeface="+mn-lt"/>
              </a:rPr>
              <a:t>PVB ACOG/SMFM Checklist</a:t>
            </a:r>
          </a:p>
          <a:p>
            <a:pPr marL="285750" indent="-285750">
              <a:spcAft>
                <a:spcPts val="300"/>
              </a:spcAft>
              <a:buFont typeface="Arial"/>
              <a:buChar char="•"/>
            </a:pPr>
            <a:r>
              <a:rPr lang="en-US" sz="1600">
                <a:latin typeface="Arial"/>
                <a:ea typeface="+mn-lt"/>
                <a:cs typeface="+mn-lt"/>
              </a:rPr>
              <a:t>PVB Disparity Data Guide</a:t>
            </a:r>
          </a:p>
          <a:p>
            <a:pPr marL="285750" indent="-285750">
              <a:spcAft>
                <a:spcPts val="300"/>
              </a:spcAft>
              <a:buFont typeface="Arial"/>
              <a:buChar char="•"/>
            </a:pPr>
            <a:r>
              <a:rPr lang="en-US" sz="1600">
                <a:latin typeface="Arial"/>
                <a:ea typeface="+mn-lt"/>
                <a:cs typeface="+mn-lt"/>
              </a:rPr>
              <a:t>PVB Shared Decision-Making Guide</a:t>
            </a:r>
          </a:p>
          <a:p>
            <a:pPr marL="285750" indent="-285750">
              <a:spcAft>
                <a:spcPts val="300"/>
              </a:spcAft>
              <a:buFont typeface="Arial"/>
              <a:buChar char="•"/>
            </a:pPr>
            <a:r>
              <a:rPr lang="en-US" sz="1600">
                <a:latin typeface="Arial"/>
                <a:ea typeface="+mn-lt"/>
                <a:cs typeface="+mn-lt"/>
              </a:rPr>
              <a:t>10 Steps to getting started with ESSI</a:t>
            </a:r>
          </a:p>
          <a:p>
            <a:pPr marL="285750" indent="-285750">
              <a:spcAft>
                <a:spcPts val="500"/>
              </a:spcAft>
              <a:buFont typeface="Arial"/>
              <a:buChar char="•"/>
            </a:pPr>
            <a:endParaRPr lang="en-US" sz="1600">
              <a:latin typeface="Arial"/>
              <a:ea typeface="Calibri"/>
              <a:cs typeface="Calibri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96D19F1-4323-9234-C222-A9D3DEBE79D7}"/>
              </a:ext>
            </a:extLst>
          </p:cNvPr>
          <p:cNvSpPr txBox="1"/>
          <p:nvPr/>
        </p:nvSpPr>
        <p:spPr>
          <a:xfrm rot="-180000">
            <a:off x="7691379" y="1380526"/>
            <a:ext cx="4144812" cy="275460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600">
                <a:latin typeface="Arial"/>
                <a:ea typeface="+mn-lt"/>
                <a:cs typeface="+mn-lt"/>
              </a:rPr>
              <a:t>ILPQC General Factsheet</a:t>
            </a:r>
            <a:endParaRPr lang="en-US" sz="1600">
              <a:latin typeface="Arial"/>
              <a:cs typeface="Arial"/>
            </a:endParaRPr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600">
                <a:latin typeface="Arial"/>
                <a:ea typeface="+mn-lt"/>
                <a:cs typeface="+mn-lt"/>
              </a:rPr>
              <a:t>Birth Equity Factsheet</a:t>
            </a:r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600">
                <a:latin typeface="Arial"/>
                <a:ea typeface="+mn-lt"/>
                <a:cs typeface="+mn-lt"/>
              </a:rPr>
              <a:t>PVB Factsheet</a:t>
            </a:r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600">
                <a:latin typeface="Arial"/>
                <a:ea typeface="+mn-lt"/>
                <a:cs typeface="+mn-lt"/>
              </a:rPr>
              <a:t>BASIC Factsheet</a:t>
            </a:r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600">
                <a:latin typeface="Arial"/>
                <a:ea typeface="+mn-lt"/>
                <a:cs typeface="+mn-lt"/>
              </a:rPr>
              <a:t>ESSI Factsheet</a:t>
            </a:r>
            <a:endParaRPr lang="en-US" sz="1600">
              <a:solidFill>
                <a:srgbClr val="444C55"/>
              </a:solidFill>
              <a:latin typeface="Arial"/>
              <a:cs typeface="Calibri"/>
            </a:endParaRPr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600">
                <a:latin typeface="Arial"/>
                <a:ea typeface="+mn-lt"/>
                <a:cs typeface="+mn-lt"/>
              </a:rPr>
              <a:t>30-60-90 Day Plan &amp; PDSA</a:t>
            </a:r>
            <a:endParaRPr lang="en-US" sz="1600">
              <a:solidFill>
                <a:srgbClr val="444C55"/>
              </a:solidFill>
              <a:latin typeface="Arial"/>
              <a:cs typeface="Calibri"/>
            </a:endParaRPr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600">
                <a:solidFill>
                  <a:srgbClr val="444C55"/>
                </a:solidFill>
                <a:latin typeface="Arial"/>
                <a:ea typeface="Calibri"/>
                <a:cs typeface="Calibri"/>
              </a:rPr>
              <a:t>2023 Illinois Maternal Mortality and Morbidity Report Executive Summary</a:t>
            </a:r>
            <a:endParaRPr lang="en-US" sz="1600">
              <a:solidFill>
                <a:srgbClr val="444C55"/>
              </a:solidFill>
              <a:latin typeface="Arial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699863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488158" y="2021687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4114800" h="411480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alphaModFix amt="3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3" name="Freeform 3"/>
          <p:cNvSpPr/>
          <p:nvPr/>
        </p:nvSpPr>
        <p:spPr>
          <a:xfrm>
            <a:off x="6096000" y="2021687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4114800" h="411480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alphaModFix amt="3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5" name="Freeform 5"/>
          <p:cNvSpPr/>
          <p:nvPr/>
        </p:nvSpPr>
        <p:spPr>
          <a:xfrm>
            <a:off x="9079451" y="1429223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4114800" h="411480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alphaModFix amt="3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grpSp>
        <p:nvGrpSpPr>
          <p:cNvPr id="6" name="Group 6"/>
          <p:cNvGrpSpPr/>
          <p:nvPr/>
        </p:nvGrpSpPr>
        <p:grpSpPr>
          <a:xfrm>
            <a:off x="744321" y="3946704"/>
            <a:ext cx="2091515" cy="596985"/>
            <a:chOff x="0" y="-57150"/>
            <a:chExt cx="1624031" cy="463550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1624031" cy="406400"/>
            </a:xfrm>
            <a:custGeom>
              <a:avLst/>
              <a:gdLst/>
              <a:ahLst/>
              <a:cxnLst/>
              <a:rect l="l" t="t" r="r" b="b"/>
              <a:pathLst>
                <a:path w="1624031" h="406400">
                  <a:moveTo>
                    <a:pt x="1420831" y="0"/>
                  </a:moveTo>
                  <a:cubicBezTo>
                    <a:pt x="1533055" y="0"/>
                    <a:pt x="1624031" y="90976"/>
                    <a:pt x="1624031" y="203200"/>
                  </a:cubicBezTo>
                  <a:cubicBezTo>
                    <a:pt x="1624031" y="315424"/>
                    <a:pt x="1533055" y="406400"/>
                    <a:pt x="1420831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FBDE4E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57150"/>
              <a:ext cx="812800" cy="463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973121" y="2044021"/>
            <a:ext cx="1633915" cy="1633915"/>
            <a:chOff x="0" y="0"/>
            <a:chExt cx="812800" cy="812800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BDE4E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3595765" y="3810225"/>
            <a:ext cx="2259984" cy="523384"/>
            <a:chOff x="0" y="0"/>
            <a:chExt cx="1624031" cy="40640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1624031" cy="406400"/>
            </a:xfrm>
            <a:custGeom>
              <a:avLst/>
              <a:gdLst/>
              <a:ahLst/>
              <a:cxnLst/>
              <a:rect l="l" t="t" r="r" b="b"/>
              <a:pathLst>
                <a:path w="1624031" h="406400">
                  <a:moveTo>
                    <a:pt x="1420831" y="0"/>
                  </a:moveTo>
                  <a:cubicBezTo>
                    <a:pt x="1533055" y="0"/>
                    <a:pt x="1624031" y="90976"/>
                    <a:pt x="1624031" y="203200"/>
                  </a:cubicBezTo>
                  <a:cubicBezTo>
                    <a:pt x="1624031" y="315424"/>
                    <a:pt x="1533055" y="406400"/>
                    <a:pt x="1420831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FC7ECF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57150"/>
              <a:ext cx="812800" cy="463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3824566" y="1759374"/>
            <a:ext cx="1633915" cy="1633915"/>
            <a:chOff x="0" y="0"/>
            <a:chExt cx="812800" cy="812800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C7ECF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9413676" y="3810225"/>
            <a:ext cx="2290167" cy="523384"/>
            <a:chOff x="0" y="0"/>
            <a:chExt cx="1624031" cy="40640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1624031" cy="406400"/>
            </a:xfrm>
            <a:custGeom>
              <a:avLst/>
              <a:gdLst/>
              <a:ahLst/>
              <a:cxnLst/>
              <a:rect l="l" t="t" r="r" b="b"/>
              <a:pathLst>
                <a:path w="1624031" h="406400">
                  <a:moveTo>
                    <a:pt x="1420831" y="0"/>
                  </a:moveTo>
                  <a:cubicBezTo>
                    <a:pt x="1533055" y="0"/>
                    <a:pt x="1624031" y="90976"/>
                    <a:pt x="1624031" y="203200"/>
                  </a:cubicBezTo>
                  <a:cubicBezTo>
                    <a:pt x="1624031" y="315424"/>
                    <a:pt x="1533055" y="406400"/>
                    <a:pt x="1420831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E8945E"/>
            </a:solidFill>
          </p:spPr>
        </p:sp>
        <p:sp>
          <p:nvSpPr>
            <p:cNvPr id="20" name="TextBox 20"/>
            <p:cNvSpPr txBox="1"/>
            <p:nvPr/>
          </p:nvSpPr>
          <p:spPr>
            <a:xfrm>
              <a:off x="0" y="-57150"/>
              <a:ext cx="812800" cy="463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grpSp>
        <p:nvGrpSpPr>
          <p:cNvPr id="21" name="Group 21"/>
          <p:cNvGrpSpPr/>
          <p:nvPr/>
        </p:nvGrpSpPr>
        <p:grpSpPr>
          <a:xfrm>
            <a:off x="9642476" y="1759374"/>
            <a:ext cx="1633915" cy="1633915"/>
            <a:chOff x="0" y="0"/>
            <a:chExt cx="812800" cy="812800"/>
          </a:xfrm>
        </p:grpSpPr>
        <p:sp>
          <p:nvSpPr>
            <p:cNvPr id="22" name="Freeform 2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E8945E"/>
            </a:solidFill>
          </p:spPr>
        </p:sp>
        <p:sp>
          <p:nvSpPr>
            <p:cNvPr id="23" name="TextBox 23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grpSp>
        <p:nvGrpSpPr>
          <p:cNvPr id="24" name="Group 24"/>
          <p:cNvGrpSpPr/>
          <p:nvPr/>
        </p:nvGrpSpPr>
        <p:grpSpPr>
          <a:xfrm>
            <a:off x="6440147" y="3728607"/>
            <a:ext cx="2336904" cy="945697"/>
            <a:chOff x="0" y="-57150"/>
            <a:chExt cx="1624031" cy="463550"/>
          </a:xfrm>
        </p:grpSpPr>
        <p:sp>
          <p:nvSpPr>
            <p:cNvPr id="25" name="Freeform 25"/>
            <p:cNvSpPr/>
            <p:nvPr/>
          </p:nvSpPr>
          <p:spPr>
            <a:xfrm>
              <a:off x="0" y="0"/>
              <a:ext cx="1624031" cy="406400"/>
            </a:xfrm>
            <a:custGeom>
              <a:avLst/>
              <a:gdLst/>
              <a:ahLst/>
              <a:cxnLst/>
              <a:rect l="l" t="t" r="r" b="b"/>
              <a:pathLst>
                <a:path w="1624031" h="406400">
                  <a:moveTo>
                    <a:pt x="1420831" y="0"/>
                  </a:moveTo>
                  <a:cubicBezTo>
                    <a:pt x="1533055" y="0"/>
                    <a:pt x="1624031" y="90976"/>
                    <a:pt x="1624031" y="203200"/>
                  </a:cubicBezTo>
                  <a:cubicBezTo>
                    <a:pt x="1624031" y="315424"/>
                    <a:pt x="1533055" y="406400"/>
                    <a:pt x="1420831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819FEB"/>
            </a:solidFill>
          </p:spPr>
        </p:sp>
        <p:sp>
          <p:nvSpPr>
            <p:cNvPr id="26" name="TextBox 26"/>
            <p:cNvSpPr txBox="1"/>
            <p:nvPr/>
          </p:nvSpPr>
          <p:spPr>
            <a:xfrm>
              <a:off x="0" y="-57150"/>
              <a:ext cx="812800" cy="463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grpSp>
        <p:nvGrpSpPr>
          <p:cNvPr id="27" name="Group 27"/>
          <p:cNvGrpSpPr/>
          <p:nvPr/>
        </p:nvGrpSpPr>
        <p:grpSpPr>
          <a:xfrm>
            <a:off x="6798097" y="2042558"/>
            <a:ext cx="1633915" cy="1633915"/>
            <a:chOff x="0" y="0"/>
            <a:chExt cx="812800" cy="812800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819FEB"/>
            </a:solidFill>
          </p:spPr>
        </p:sp>
        <p:sp>
          <p:nvSpPr>
            <p:cNvPr id="29" name="TextBox 29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sp>
        <p:nvSpPr>
          <p:cNvPr id="30" name="Freeform 30"/>
          <p:cNvSpPr/>
          <p:nvPr/>
        </p:nvSpPr>
        <p:spPr>
          <a:xfrm>
            <a:off x="-576664" y="6548095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>
                <a:moveTo>
                  <a:pt x="0" y="0"/>
                </a:moveTo>
                <a:lnTo>
                  <a:pt x="1729992" y="0"/>
                </a:lnTo>
                <a:lnTo>
                  <a:pt x="1729992" y="691997"/>
                </a:lnTo>
                <a:lnTo>
                  <a:pt x="0" y="691997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31" name="Freeform 31"/>
          <p:cNvSpPr/>
          <p:nvPr/>
        </p:nvSpPr>
        <p:spPr>
          <a:xfrm>
            <a:off x="1859759" y="2330162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>
                <a:moveTo>
                  <a:pt x="0" y="0"/>
                </a:moveTo>
                <a:lnTo>
                  <a:pt x="1729993" y="0"/>
                </a:lnTo>
                <a:lnTo>
                  <a:pt x="1729993" y="691997"/>
                </a:lnTo>
                <a:lnTo>
                  <a:pt x="0" y="691997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32" name="Freeform 32"/>
          <p:cNvSpPr/>
          <p:nvPr/>
        </p:nvSpPr>
        <p:spPr>
          <a:xfrm>
            <a:off x="4641524" y="3090388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>
                <a:moveTo>
                  <a:pt x="0" y="0"/>
                </a:moveTo>
                <a:lnTo>
                  <a:pt x="1729993" y="0"/>
                </a:lnTo>
                <a:lnTo>
                  <a:pt x="1729993" y="691998"/>
                </a:lnTo>
                <a:lnTo>
                  <a:pt x="0" y="691998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33" name="Freeform 33"/>
          <p:cNvSpPr/>
          <p:nvPr/>
        </p:nvSpPr>
        <p:spPr>
          <a:xfrm>
            <a:off x="9297723" y="3090388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>
                <a:moveTo>
                  <a:pt x="0" y="0"/>
                </a:moveTo>
                <a:lnTo>
                  <a:pt x="1729993" y="0"/>
                </a:lnTo>
                <a:lnTo>
                  <a:pt x="1729993" y="691998"/>
                </a:lnTo>
                <a:lnTo>
                  <a:pt x="0" y="691998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34" name="Freeform 34"/>
          <p:cNvSpPr/>
          <p:nvPr/>
        </p:nvSpPr>
        <p:spPr>
          <a:xfrm>
            <a:off x="6325263" y="2071370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>
                <a:moveTo>
                  <a:pt x="0" y="0"/>
                </a:moveTo>
                <a:lnTo>
                  <a:pt x="1729993" y="0"/>
                </a:lnTo>
                <a:lnTo>
                  <a:pt x="1729993" y="691997"/>
                </a:lnTo>
                <a:lnTo>
                  <a:pt x="0" y="691997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38" name="TextBox 38"/>
          <p:cNvSpPr txBox="1"/>
          <p:nvPr/>
        </p:nvSpPr>
        <p:spPr>
          <a:xfrm>
            <a:off x="817815" y="4079178"/>
            <a:ext cx="2093537" cy="33701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6">
              <a:lnSpc>
                <a:spcPts val="2799"/>
              </a:lnSpc>
            </a:pPr>
            <a:r>
              <a:rPr lang="en-US" sz="1950" dirty="0">
                <a:solidFill>
                  <a:srgbClr val="000000"/>
                </a:solidFill>
                <a:latin typeface="Barlow Semi-Bold"/>
              </a:rPr>
              <a:t>Attendees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685801" y="4683312"/>
            <a:ext cx="2093537" cy="181825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6">
              <a:lnSpc>
                <a:spcPts val="2427"/>
              </a:lnSpc>
              <a:spcBef>
                <a:spcPct val="0"/>
              </a:spcBef>
            </a:pPr>
            <a:r>
              <a:rPr lang="en-US" sz="1700" dirty="0">
                <a:solidFill>
                  <a:srgbClr val="63696F"/>
                </a:solidFill>
                <a:latin typeface="Barlow Medium"/>
              </a:rPr>
              <a:t>Providers, Nurses, Social Workers, Patient Partners, Community Organizations, and so many more...</a:t>
            </a:r>
            <a:endParaRPr lang="en-US" dirty="0"/>
          </a:p>
        </p:txBody>
      </p:sp>
      <p:sp>
        <p:nvSpPr>
          <p:cNvPr id="40" name="TextBox 40"/>
          <p:cNvSpPr txBox="1"/>
          <p:nvPr/>
        </p:nvSpPr>
        <p:spPr>
          <a:xfrm>
            <a:off x="3701316" y="3905390"/>
            <a:ext cx="2093537" cy="32508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6">
              <a:lnSpc>
                <a:spcPts val="2706"/>
              </a:lnSpc>
            </a:pPr>
            <a:r>
              <a:rPr lang="en-US" sz="1900" dirty="0">
                <a:solidFill>
                  <a:srgbClr val="000000"/>
                </a:solidFill>
                <a:latin typeface="Barlow Semi-Bold"/>
              </a:rPr>
              <a:t>Partner Tables</a:t>
            </a:r>
            <a:endParaRPr lang="en-US" sz="1933" dirty="0">
              <a:solidFill>
                <a:srgbClr val="000000"/>
              </a:solidFill>
              <a:latin typeface="Barlow Semi-Bold"/>
            </a:endParaRPr>
          </a:p>
        </p:txBody>
      </p:sp>
      <p:sp>
        <p:nvSpPr>
          <p:cNvPr id="41" name="TextBox 41"/>
          <p:cNvSpPr txBox="1"/>
          <p:nvPr/>
        </p:nvSpPr>
        <p:spPr>
          <a:xfrm>
            <a:off x="3477551" y="4266200"/>
            <a:ext cx="2501245" cy="14643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6"/>
            <a:endParaRPr lang="en-US" sz="1700" dirty="0">
              <a:solidFill>
                <a:srgbClr val="63696F"/>
              </a:solidFill>
              <a:latin typeface="Barlow Medium"/>
            </a:endParaRPr>
          </a:p>
          <a:p>
            <a:pPr algn="ctr" defTabSz="914446">
              <a:lnSpc>
                <a:spcPts val="2427"/>
              </a:lnSpc>
              <a:spcBef>
                <a:spcPct val="0"/>
              </a:spcBef>
            </a:pPr>
            <a:r>
              <a:rPr lang="en-US" sz="1700" dirty="0">
                <a:solidFill>
                  <a:srgbClr val="63696F"/>
                </a:solidFill>
                <a:latin typeface="Barlow Medium"/>
              </a:rPr>
              <a:t> Connections with Local Organizations, Find Resources and Build Community </a:t>
            </a:r>
            <a:endParaRPr lang="en-US" dirty="0"/>
          </a:p>
        </p:txBody>
      </p:sp>
      <p:sp>
        <p:nvSpPr>
          <p:cNvPr id="42" name="TextBox 42"/>
          <p:cNvSpPr txBox="1"/>
          <p:nvPr/>
        </p:nvSpPr>
        <p:spPr>
          <a:xfrm>
            <a:off x="9429854" y="3898976"/>
            <a:ext cx="2093537" cy="33701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6">
              <a:lnSpc>
                <a:spcPts val="2799"/>
              </a:lnSpc>
            </a:pPr>
            <a:r>
              <a:rPr lang="en-US" sz="1950" dirty="0">
                <a:solidFill>
                  <a:srgbClr val="000000"/>
                </a:solidFill>
                <a:latin typeface="Barlow Semi-Bold"/>
              </a:rPr>
              <a:t>Posters</a:t>
            </a:r>
            <a:endParaRPr lang="en-US" dirty="0"/>
          </a:p>
        </p:txBody>
      </p:sp>
      <p:sp>
        <p:nvSpPr>
          <p:cNvPr id="43" name="TextBox 43"/>
          <p:cNvSpPr txBox="1"/>
          <p:nvPr/>
        </p:nvSpPr>
        <p:spPr>
          <a:xfrm>
            <a:off x="9349381" y="4489665"/>
            <a:ext cx="2409987" cy="15055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6">
              <a:lnSpc>
                <a:spcPts val="2427"/>
              </a:lnSpc>
              <a:spcBef>
                <a:spcPct val="0"/>
              </a:spcBef>
            </a:pPr>
            <a:r>
              <a:rPr lang="en-US" sz="1700" dirty="0">
                <a:solidFill>
                  <a:srgbClr val="63696F"/>
                </a:solidFill>
                <a:latin typeface="Barlow Medium"/>
              </a:rPr>
              <a:t>35 OB Abstracts</a:t>
            </a:r>
          </a:p>
          <a:p>
            <a:pPr algn="ctr" defTabSz="914446">
              <a:lnSpc>
                <a:spcPts val="2427"/>
              </a:lnSpc>
              <a:spcBef>
                <a:spcPct val="0"/>
              </a:spcBef>
            </a:pPr>
            <a:r>
              <a:rPr lang="en-US" sz="1700" dirty="0">
                <a:solidFill>
                  <a:srgbClr val="63696F"/>
                </a:solidFill>
                <a:latin typeface="Barlow Medium"/>
              </a:rPr>
              <a:t>13 Neonatal Abstracts</a:t>
            </a:r>
          </a:p>
          <a:p>
            <a:pPr algn="ctr" defTabSz="914446">
              <a:lnSpc>
                <a:spcPts val="2427"/>
              </a:lnSpc>
              <a:spcBef>
                <a:spcPct val="0"/>
              </a:spcBef>
            </a:pPr>
            <a:r>
              <a:rPr lang="en-US" sz="1700" dirty="0">
                <a:solidFill>
                  <a:srgbClr val="63696F"/>
                </a:solidFill>
                <a:latin typeface="Barlow Medium"/>
              </a:rPr>
              <a:t>3 Patient, Family, Community Engagement Abstracts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6502700" y="3912742"/>
            <a:ext cx="2209774" cy="69435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2799"/>
              </a:lnSpc>
            </a:pPr>
            <a:r>
              <a:rPr lang="en-US" sz="1950" dirty="0">
                <a:solidFill>
                  <a:srgbClr val="000000"/>
                </a:solidFill>
                <a:latin typeface="Barlow Semi-Bold"/>
              </a:rPr>
              <a:t>Annual Conference Speakers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6443590" y="4757878"/>
            <a:ext cx="2496251" cy="18133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2427"/>
              </a:lnSpc>
              <a:spcBef>
                <a:spcPct val="0"/>
              </a:spcBef>
            </a:pPr>
            <a:r>
              <a:rPr lang="en-US" sz="1700" dirty="0">
                <a:solidFill>
                  <a:srgbClr val="63696F"/>
                </a:solidFill>
                <a:latin typeface="Barlow Medium"/>
              </a:rPr>
              <a:t>3 National Speakers</a:t>
            </a:r>
          </a:p>
          <a:p>
            <a:pPr algn="ctr" defTabSz="914446">
              <a:lnSpc>
                <a:spcPts val="2427"/>
              </a:lnSpc>
              <a:spcBef>
                <a:spcPct val="0"/>
              </a:spcBef>
            </a:pPr>
            <a:r>
              <a:rPr lang="en-US" sz="1700" dirty="0">
                <a:solidFill>
                  <a:srgbClr val="63696F"/>
                </a:solidFill>
                <a:latin typeface="Barlow Medium"/>
              </a:rPr>
              <a:t>3 PQC Leaders</a:t>
            </a:r>
          </a:p>
          <a:p>
            <a:pPr algn="ctr" defTabSz="914446">
              <a:lnSpc>
                <a:spcPts val="2427"/>
              </a:lnSpc>
              <a:spcBef>
                <a:spcPct val="0"/>
              </a:spcBef>
            </a:pPr>
            <a:r>
              <a:rPr lang="en-US" sz="1700" dirty="0">
                <a:solidFill>
                  <a:srgbClr val="63696F"/>
                </a:solidFill>
                <a:latin typeface="Barlow Medium"/>
              </a:rPr>
              <a:t>1 Community Organization</a:t>
            </a:r>
          </a:p>
          <a:p>
            <a:pPr algn="ctr" defTabSz="914446">
              <a:lnSpc>
                <a:spcPts val="2427"/>
              </a:lnSpc>
              <a:spcBef>
                <a:spcPct val="0"/>
              </a:spcBef>
            </a:pPr>
            <a:r>
              <a:rPr lang="en-US" sz="1700" dirty="0">
                <a:solidFill>
                  <a:srgbClr val="63696F"/>
                </a:solidFill>
                <a:latin typeface="Barlow Medium"/>
              </a:rPr>
              <a:t>1 Doula</a:t>
            </a:r>
          </a:p>
          <a:p>
            <a:pPr algn="ctr" defTabSz="914446">
              <a:lnSpc>
                <a:spcPts val="2427"/>
              </a:lnSpc>
              <a:spcBef>
                <a:spcPct val="0"/>
              </a:spcBef>
            </a:pPr>
            <a:r>
              <a:rPr lang="en-US" sz="1700" dirty="0">
                <a:solidFill>
                  <a:srgbClr val="63696F"/>
                </a:solidFill>
                <a:latin typeface="Barlow Medium"/>
              </a:rPr>
              <a:t>2 Patient Partners</a:t>
            </a:r>
          </a:p>
          <a:p>
            <a:pPr algn="ctr" defTabSz="914446">
              <a:lnSpc>
                <a:spcPts val="2427"/>
              </a:lnSpc>
              <a:spcBef>
                <a:spcPct val="0"/>
              </a:spcBef>
            </a:pPr>
            <a:endParaRPr lang="en-US" sz="1700" dirty="0">
              <a:solidFill>
                <a:srgbClr val="63696F"/>
              </a:solidFill>
              <a:latin typeface="Barlow Medium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1232086" y="2296372"/>
            <a:ext cx="1274135" cy="100995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8588"/>
              </a:lnSpc>
            </a:pPr>
            <a:r>
              <a:rPr lang="en-US" sz="5400" dirty="0">
                <a:solidFill>
                  <a:srgbClr val="000000"/>
                </a:solidFill>
                <a:latin typeface="Canva Sans Bold"/>
              </a:rPr>
              <a:t>481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7090966" y="2280397"/>
            <a:ext cx="1026194" cy="103368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8588"/>
              </a:lnSpc>
            </a:pPr>
            <a:r>
              <a:rPr lang="en-US" sz="6100" dirty="0">
                <a:solidFill>
                  <a:srgbClr val="000000"/>
                </a:solidFill>
                <a:latin typeface="Canva Sans Bold"/>
              </a:rPr>
              <a:t>10</a:t>
            </a:r>
            <a:endParaRPr lang="en-US" sz="6134" dirty="0">
              <a:solidFill>
                <a:srgbClr val="000000"/>
              </a:solidFill>
              <a:latin typeface="Canva Sans Bold"/>
            </a:endParaRPr>
          </a:p>
        </p:txBody>
      </p:sp>
      <p:sp>
        <p:nvSpPr>
          <p:cNvPr id="48" name="TextBox 48"/>
          <p:cNvSpPr txBox="1"/>
          <p:nvPr/>
        </p:nvSpPr>
        <p:spPr>
          <a:xfrm>
            <a:off x="4227305" y="2046024"/>
            <a:ext cx="828437" cy="100995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6">
              <a:lnSpc>
                <a:spcPts val="8588"/>
              </a:lnSpc>
            </a:pPr>
            <a:r>
              <a:rPr lang="en-US" sz="5400" dirty="0">
                <a:solidFill>
                  <a:srgbClr val="000000"/>
                </a:solidFill>
                <a:latin typeface="Canva Sans Bold"/>
              </a:rPr>
              <a:t>8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9780228" y="2064747"/>
            <a:ext cx="1341646" cy="11028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8588"/>
              </a:lnSpc>
            </a:pPr>
            <a:r>
              <a:rPr lang="en-US" sz="5400" dirty="0">
                <a:solidFill>
                  <a:srgbClr val="000000"/>
                </a:solidFill>
                <a:latin typeface="Canva Sans Bold"/>
              </a:rPr>
              <a:t>~50</a:t>
            </a:r>
          </a:p>
        </p:txBody>
      </p:sp>
      <p:sp>
        <p:nvSpPr>
          <p:cNvPr id="50" name="Title 1"/>
          <p:cNvSpPr txBox="1">
            <a:spLocks/>
          </p:cNvSpPr>
          <p:nvPr/>
        </p:nvSpPr>
        <p:spPr>
          <a:xfrm>
            <a:off x="303590" y="99620"/>
            <a:ext cx="10972800" cy="1325563"/>
          </a:xfrm>
          <a:prstGeom prst="rect">
            <a:avLst/>
          </a:prstGeom>
          <a:noFill/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defTabSz="914446"/>
            <a:r>
              <a:rPr lang="en-US" dirty="0">
                <a:solidFill>
                  <a:srgbClr val="1C498B"/>
                </a:solidFill>
                <a:latin typeface="Calibri" panose="020F0502020204030204"/>
                <a:ea typeface="Lato Medium"/>
                <a:cs typeface="Lato Medium"/>
              </a:rPr>
              <a:t>ILPQC 11th Annual Conference:</a:t>
            </a:r>
            <a:endParaRPr lang="en-US" dirty="0">
              <a:solidFill>
                <a:srgbClr val="1C498B"/>
              </a:solidFill>
              <a:latin typeface="Calibri" panose="020F0502020204030204"/>
            </a:endParaRPr>
          </a:p>
          <a:p>
            <a:pPr defTabSz="914446"/>
            <a:r>
              <a:rPr lang="en-US" dirty="0">
                <a:solidFill>
                  <a:srgbClr val="1C498B"/>
                </a:solidFill>
                <a:latin typeface="Calibri" panose="020F0502020204030204"/>
                <a:ea typeface="Lato Medium"/>
                <a:cs typeface="Lato Medium"/>
              </a:rPr>
              <a:t>Attendance by the Numbers</a:t>
            </a:r>
            <a:endParaRPr lang="en-US" dirty="0">
              <a:solidFill>
                <a:srgbClr val="1C498B"/>
              </a:solidFill>
              <a:latin typeface="Calibri" panose="020F0502020204030204"/>
            </a:endParaRPr>
          </a:p>
        </p:txBody>
      </p:sp>
      <p:pic>
        <p:nvPicPr>
          <p:cNvPr id="52" name="Graphic 51" descr="Fireworks outline">
            <a:extLst>
              <a:ext uri="{FF2B5EF4-FFF2-40B4-BE49-F238E27FC236}">
                <a16:creationId xmlns:a16="http://schemas.microsoft.com/office/drawing/2014/main" id="{74D8DF8F-8DAD-5C4D-AC15-43D50C914CD6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773064" y="5746630"/>
            <a:ext cx="914400" cy="914400"/>
          </a:xfrm>
          <a:prstGeom prst="rect">
            <a:avLst/>
          </a:prstGeom>
        </p:spPr>
      </p:pic>
      <p:pic>
        <p:nvPicPr>
          <p:cNvPr id="54" name="Graphic 53" descr="Fireworks outline">
            <a:extLst>
              <a:ext uri="{FF2B5EF4-FFF2-40B4-BE49-F238E27FC236}">
                <a16:creationId xmlns:a16="http://schemas.microsoft.com/office/drawing/2014/main" id="{EF83840E-489C-8F80-B83B-B651DFF8DF59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050875" y="5746630"/>
            <a:ext cx="914400" cy="914400"/>
          </a:xfrm>
          <a:prstGeom prst="rect">
            <a:avLst/>
          </a:prstGeom>
        </p:spPr>
      </p:pic>
      <p:pic>
        <p:nvPicPr>
          <p:cNvPr id="56" name="Graphic 55" descr="Fireworks outline">
            <a:extLst>
              <a:ext uri="{FF2B5EF4-FFF2-40B4-BE49-F238E27FC236}">
                <a16:creationId xmlns:a16="http://schemas.microsoft.com/office/drawing/2014/main" id="{60B93280-4A87-B88A-23AC-90BDC8691A96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796951" y="75768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1679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488158" y="2021687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4114800" h="411480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alphaModFix amt="3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3" name="Freeform 3"/>
          <p:cNvSpPr/>
          <p:nvPr/>
        </p:nvSpPr>
        <p:spPr>
          <a:xfrm>
            <a:off x="6096000" y="2021687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4114800" h="411480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alphaModFix amt="3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4" name="Freeform 4"/>
          <p:cNvSpPr/>
          <p:nvPr/>
        </p:nvSpPr>
        <p:spPr>
          <a:xfrm>
            <a:off x="3471609" y="1429223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4114800" h="411480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alphaModFix amt="3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5" name="Freeform 5"/>
          <p:cNvSpPr/>
          <p:nvPr/>
        </p:nvSpPr>
        <p:spPr>
          <a:xfrm>
            <a:off x="9079451" y="1429223"/>
            <a:ext cx="2556295" cy="2541917"/>
          </a:xfrm>
          <a:custGeom>
            <a:avLst/>
            <a:gdLst/>
            <a:ahLst/>
            <a:cxnLst/>
            <a:rect l="l" t="t" r="r" b="b"/>
            <a:pathLst>
              <a:path w="4114800" h="411480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alphaModFix amt="3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grpSp>
        <p:nvGrpSpPr>
          <p:cNvPr id="6" name="Group 6"/>
          <p:cNvGrpSpPr/>
          <p:nvPr/>
        </p:nvGrpSpPr>
        <p:grpSpPr>
          <a:xfrm>
            <a:off x="830585" y="3802931"/>
            <a:ext cx="2091515" cy="596985"/>
            <a:chOff x="0" y="-57150"/>
            <a:chExt cx="1624031" cy="463550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1624031" cy="406400"/>
            </a:xfrm>
            <a:custGeom>
              <a:avLst/>
              <a:gdLst/>
              <a:ahLst/>
              <a:cxnLst/>
              <a:rect l="l" t="t" r="r" b="b"/>
              <a:pathLst>
                <a:path w="1624031" h="406400">
                  <a:moveTo>
                    <a:pt x="1420831" y="0"/>
                  </a:moveTo>
                  <a:cubicBezTo>
                    <a:pt x="1533055" y="0"/>
                    <a:pt x="1624031" y="90976"/>
                    <a:pt x="1624031" y="203200"/>
                  </a:cubicBezTo>
                  <a:cubicBezTo>
                    <a:pt x="1624031" y="315424"/>
                    <a:pt x="1533055" y="406400"/>
                    <a:pt x="1420831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57150"/>
              <a:ext cx="812800" cy="463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3595765" y="3810225"/>
            <a:ext cx="2259984" cy="523384"/>
            <a:chOff x="0" y="0"/>
            <a:chExt cx="1624031" cy="40640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1624031" cy="406400"/>
            </a:xfrm>
            <a:custGeom>
              <a:avLst/>
              <a:gdLst/>
              <a:ahLst/>
              <a:cxnLst/>
              <a:rect l="l" t="t" r="r" b="b"/>
              <a:pathLst>
                <a:path w="1624031" h="406400">
                  <a:moveTo>
                    <a:pt x="1420831" y="0"/>
                  </a:moveTo>
                  <a:cubicBezTo>
                    <a:pt x="1533055" y="0"/>
                    <a:pt x="1624031" y="90976"/>
                    <a:pt x="1624031" y="203200"/>
                  </a:cubicBezTo>
                  <a:cubicBezTo>
                    <a:pt x="1624031" y="315424"/>
                    <a:pt x="1533055" y="406400"/>
                    <a:pt x="1420831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FC7ECF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57150"/>
              <a:ext cx="812800" cy="463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3824566" y="1759374"/>
            <a:ext cx="1633915" cy="1633915"/>
            <a:chOff x="0" y="0"/>
            <a:chExt cx="812800" cy="812800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C7ECF"/>
            </a:solidFill>
          </p:spPr>
        </p:sp>
        <p:sp>
          <p:nvSpPr>
            <p:cNvPr id="17" name="TextBox 17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grpSp>
        <p:nvGrpSpPr>
          <p:cNvPr id="21" name="Group 21"/>
          <p:cNvGrpSpPr/>
          <p:nvPr/>
        </p:nvGrpSpPr>
        <p:grpSpPr>
          <a:xfrm>
            <a:off x="9599343" y="1500581"/>
            <a:ext cx="1518897" cy="1475765"/>
            <a:chOff x="0" y="0"/>
            <a:chExt cx="812800" cy="812800"/>
          </a:xfrm>
        </p:grpSpPr>
        <p:sp>
          <p:nvSpPr>
            <p:cNvPr id="22" name="Freeform 2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chemeClr val="accent6"/>
            </a:solidFill>
          </p:spPr>
        </p:sp>
        <p:sp>
          <p:nvSpPr>
            <p:cNvPr id="23" name="TextBox 23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grpSp>
        <p:nvGrpSpPr>
          <p:cNvPr id="24" name="Group 24"/>
          <p:cNvGrpSpPr/>
          <p:nvPr/>
        </p:nvGrpSpPr>
        <p:grpSpPr>
          <a:xfrm>
            <a:off x="6440147" y="3728607"/>
            <a:ext cx="2336904" cy="600641"/>
            <a:chOff x="0" y="-57150"/>
            <a:chExt cx="1624031" cy="463550"/>
          </a:xfrm>
        </p:grpSpPr>
        <p:sp>
          <p:nvSpPr>
            <p:cNvPr id="25" name="Freeform 25"/>
            <p:cNvSpPr/>
            <p:nvPr/>
          </p:nvSpPr>
          <p:spPr>
            <a:xfrm>
              <a:off x="0" y="0"/>
              <a:ext cx="1624031" cy="406400"/>
            </a:xfrm>
            <a:custGeom>
              <a:avLst/>
              <a:gdLst/>
              <a:ahLst/>
              <a:cxnLst/>
              <a:rect l="l" t="t" r="r" b="b"/>
              <a:pathLst>
                <a:path w="1624031" h="406400">
                  <a:moveTo>
                    <a:pt x="1420831" y="0"/>
                  </a:moveTo>
                  <a:cubicBezTo>
                    <a:pt x="1533055" y="0"/>
                    <a:pt x="1624031" y="90976"/>
                    <a:pt x="1624031" y="203200"/>
                  </a:cubicBezTo>
                  <a:cubicBezTo>
                    <a:pt x="1624031" y="315424"/>
                    <a:pt x="1533055" y="406400"/>
                    <a:pt x="1420831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</p:spPr>
        </p:sp>
        <p:sp>
          <p:nvSpPr>
            <p:cNvPr id="26" name="TextBox 26"/>
            <p:cNvSpPr txBox="1"/>
            <p:nvPr/>
          </p:nvSpPr>
          <p:spPr>
            <a:xfrm>
              <a:off x="0" y="-57150"/>
              <a:ext cx="812800" cy="463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grpSp>
        <p:nvGrpSpPr>
          <p:cNvPr id="27" name="Group 27"/>
          <p:cNvGrpSpPr/>
          <p:nvPr/>
        </p:nvGrpSpPr>
        <p:grpSpPr>
          <a:xfrm>
            <a:off x="6855606" y="1985049"/>
            <a:ext cx="1633915" cy="1633915"/>
            <a:chOff x="0" y="0"/>
            <a:chExt cx="812800" cy="812800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</p:spPr>
        </p:sp>
        <p:sp>
          <p:nvSpPr>
            <p:cNvPr id="29" name="TextBox 29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sp>
        <p:nvSpPr>
          <p:cNvPr id="31" name="Freeform 31"/>
          <p:cNvSpPr/>
          <p:nvPr/>
        </p:nvSpPr>
        <p:spPr>
          <a:xfrm>
            <a:off x="1859759" y="2330162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>
                <a:moveTo>
                  <a:pt x="0" y="0"/>
                </a:moveTo>
                <a:lnTo>
                  <a:pt x="1729993" y="0"/>
                </a:lnTo>
                <a:lnTo>
                  <a:pt x="1729993" y="691997"/>
                </a:lnTo>
                <a:lnTo>
                  <a:pt x="0" y="691997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32" name="Freeform 32"/>
          <p:cNvSpPr/>
          <p:nvPr/>
        </p:nvSpPr>
        <p:spPr>
          <a:xfrm>
            <a:off x="4641524" y="3090388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>
                <a:moveTo>
                  <a:pt x="0" y="0"/>
                </a:moveTo>
                <a:lnTo>
                  <a:pt x="1729993" y="0"/>
                </a:lnTo>
                <a:lnTo>
                  <a:pt x="1729993" y="691998"/>
                </a:lnTo>
                <a:lnTo>
                  <a:pt x="0" y="691998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33" name="Freeform 33"/>
          <p:cNvSpPr/>
          <p:nvPr/>
        </p:nvSpPr>
        <p:spPr>
          <a:xfrm>
            <a:off x="8765761" y="2515294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>
                <a:moveTo>
                  <a:pt x="0" y="0"/>
                </a:moveTo>
                <a:lnTo>
                  <a:pt x="1729993" y="0"/>
                </a:lnTo>
                <a:lnTo>
                  <a:pt x="1729993" y="691998"/>
                </a:lnTo>
                <a:lnTo>
                  <a:pt x="0" y="691998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34" name="Freeform 34"/>
          <p:cNvSpPr/>
          <p:nvPr/>
        </p:nvSpPr>
        <p:spPr>
          <a:xfrm>
            <a:off x="6397150" y="2330162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>
                <a:moveTo>
                  <a:pt x="0" y="0"/>
                </a:moveTo>
                <a:lnTo>
                  <a:pt x="1729993" y="0"/>
                </a:lnTo>
                <a:lnTo>
                  <a:pt x="1729993" y="691997"/>
                </a:lnTo>
                <a:lnTo>
                  <a:pt x="0" y="691997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38" name="TextBox 38"/>
          <p:cNvSpPr txBox="1"/>
          <p:nvPr/>
        </p:nvSpPr>
        <p:spPr>
          <a:xfrm>
            <a:off x="760306" y="3935404"/>
            <a:ext cx="2093537" cy="33701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6">
              <a:lnSpc>
                <a:spcPts val="2799"/>
              </a:lnSpc>
            </a:pPr>
            <a:r>
              <a:rPr lang="en-US" sz="1950" dirty="0">
                <a:solidFill>
                  <a:srgbClr val="000000"/>
                </a:solidFill>
                <a:latin typeface="Barlow Semi-Bold"/>
              </a:rPr>
              <a:t>Data Champions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887084" y="4438897"/>
            <a:ext cx="2093537" cy="8899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6">
              <a:lnSpc>
                <a:spcPts val="2427"/>
              </a:lnSpc>
              <a:spcBef>
                <a:spcPct val="0"/>
              </a:spcBef>
            </a:pPr>
            <a:r>
              <a:rPr lang="en-US" sz="1700" dirty="0">
                <a:solidFill>
                  <a:srgbClr val="63696F"/>
                </a:solidFill>
                <a:latin typeface="Barlow Medium"/>
              </a:rPr>
              <a:t>Across both PVB and BE initiatives </a:t>
            </a:r>
            <a:endParaRPr lang="en-US" dirty="0">
              <a:solidFill>
                <a:srgbClr val="444C55"/>
              </a:solidFill>
              <a:latin typeface="Arial"/>
              <a:cs typeface="Arial"/>
            </a:endParaRPr>
          </a:p>
          <a:p>
            <a:pPr algn="ctr" defTabSz="914446">
              <a:lnSpc>
                <a:spcPts val="2427"/>
              </a:lnSpc>
              <a:spcBef>
                <a:spcPct val="0"/>
              </a:spcBef>
            </a:pPr>
            <a:endParaRPr lang="en-US" sz="1700" dirty="0">
              <a:solidFill>
                <a:srgbClr val="63696F"/>
              </a:solidFill>
              <a:latin typeface="Barlow Medium"/>
            </a:endParaRPr>
          </a:p>
        </p:txBody>
      </p:sp>
      <p:sp>
        <p:nvSpPr>
          <p:cNvPr id="40" name="TextBox 40"/>
          <p:cNvSpPr txBox="1"/>
          <p:nvPr/>
        </p:nvSpPr>
        <p:spPr>
          <a:xfrm>
            <a:off x="3701316" y="3905390"/>
            <a:ext cx="2093537" cy="32508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6">
              <a:lnSpc>
                <a:spcPts val="2706"/>
              </a:lnSpc>
            </a:pPr>
            <a:r>
              <a:rPr lang="en-US" sz="1900" dirty="0">
                <a:solidFill>
                  <a:srgbClr val="000000"/>
                </a:solidFill>
                <a:latin typeface="Barlow Semi-Bold"/>
              </a:rPr>
              <a:t>PVB QI Excellence</a:t>
            </a:r>
            <a:endParaRPr lang="en-US" dirty="0"/>
          </a:p>
        </p:txBody>
      </p:sp>
      <p:sp>
        <p:nvSpPr>
          <p:cNvPr id="41" name="TextBox 41"/>
          <p:cNvSpPr txBox="1"/>
          <p:nvPr/>
        </p:nvSpPr>
        <p:spPr>
          <a:xfrm>
            <a:off x="3535061" y="4438729"/>
            <a:ext cx="2386227" cy="8899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2427"/>
              </a:lnSpc>
              <a:spcBef>
                <a:spcPct val="0"/>
              </a:spcBef>
            </a:pPr>
            <a:r>
              <a:rPr lang="en-US" sz="1700" dirty="0">
                <a:solidFill>
                  <a:srgbClr val="63696F"/>
                </a:solidFill>
                <a:latin typeface="Barlow Medium"/>
              </a:rPr>
              <a:t>Plus 24 Past QI Excellence Award Winners 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9257325" y="3065089"/>
            <a:ext cx="2352329" cy="706811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2799"/>
              </a:lnSpc>
            </a:pPr>
            <a:r>
              <a:rPr lang="en-US" sz="1950" dirty="0">
                <a:solidFill>
                  <a:srgbClr val="000000"/>
                </a:solidFill>
                <a:latin typeface="Barlow Semi-Bold"/>
                <a:ea typeface="+mn-lt"/>
                <a:cs typeface="+mn-lt"/>
              </a:rPr>
              <a:t>Patient Partner Recognitions</a:t>
            </a:r>
            <a:endParaRPr lang="en-US" dirty="0"/>
          </a:p>
        </p:txBody>
      </p:sp>
      <p:sp>
        <p:nvSpPr>
          <p:cNvPr id="44" name="TextBox 44"/>
          <p:cNvSpPr txBox="1"/>
          <p:nvPr/>
        </p:nvSpPr>
        <p:spPr>
          <a:xfrm>
            <a:off x="6502700" y="3898365"/>
            <a:ext cx="2209774" cy="33528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2799"/>
              </a:lnSpc>
            </a:pPr>
            <a:r>
              <a:rPr lang="en-US" sz="1900" dirty="0">
                <a:solidFill>
                  <a:srgbClr val="000000"/>
                </a:solidFill>
                <a:latin typeface="Barlow Semi-Bold"/>
              </a:rPr>
              <a:t>BE QI Excellence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6414836" y="4441576"/>
            <a:ext cx="2496251" cy="8899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2427"/>
              </a:lnSpc>
              <a:spcBef>
                <a:spcPct val="0"/>
              </a:spcBef>
            </a:pPr>
            <a:r>
              <a:rPr lang="en-US" sz="1700" dirty="0">
                <a:solidFill>
                  <a:srgbClr val="63696F"/>
                </a:solidFill>
                <a:latin typeface="Barlow Medium"/>
              </a:rPr>
              <a:t>Additional 7 teams near BE QI Excellence</a:t>
            </a:r>
          </a:p>
          <a:p>
            <a:pPr algn="ctr" defTabSz="914446">
              <a:lnSpc>
                <a:spcPts val="2427"/>
              </a:lnSpc>
              <a:spcBef>
                <a:spcPct val="0"/>
              </a:spcBef>
            </a:pPr>
            <a:endParaRPr lang="en-US" sz="1700" dirty="0">
              <a:solidFill>
                <a:srgbClr val="63696F"/>
              </a:solidFill>
              <a:latin typeface="Barlow Medium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7090966" y="2294775"/>
            <a:ext cx="1026194" cy="103368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8588"/>
              </a:lnSpc>
            </a:pPr>
            <a:r>
              <a:rPr lang="en-US" sz="6100" dirty="0">
                <a:solidFill>
                  <a:srgbClr val="000000"/>
                </a:solidFill>
                <a:latin typeface="Canva Sans Bold"/>
              </a:rPr>
              <a:t>10</a:t>
            </a:r>
            <a:endParaRPr lang="en-US" sz="6134" dirty="0">
              <a:solidFill>
                <a:srgbClr val="000000"/>
              </a:solidFill>
              <a:latin typeface="Canva Sans Bold"/>
            </a:endParaRPr>
          </a:p>
        </p:txBody>
      </p:sp>
      <p:sp>
        <p:nvSpPr>
          <p:cNvPr id="48" name="TextBox 48"/>
          <p:cNvSpPr txBox="1"/>
          <p:nvPr/>
        </p:nvSpPr>
        <p:spPr>
          <a:xfrm>
            <a:off x="4227305" y="2046024"/>
            <a:ext cx="828437" cy="100995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914446">
              <a:lnSpc>
                <a:spcPts val="8588"/>
              </a:lnSpc>
            </a:pPr>
            <a:r>
              <a:rPr lang="en-US" sz="5400" dirty="0">
                <a:solidFill>
                  <a:srgbClr val="000000"/>
                </a:solidFill>
                <a:latin typeface="Canva Sans Bold"/>
              </a:rPr>
              <a:t>14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9736259" y="1665193"/>
            <a:ext cx="1230690" cy="100995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8588"/>
              </a:lnSpc>
            </a:pPr>
            <a:r>
              <a:rPr lang="en-US" sz="5400" dirty="0">
                <a:solidFill>
                  <a:srgbClr val="000000"/>
                </a:solidFill>
                <a:latin typeface="Canva Sans Bold"/>
              </a:rPr>
              <a:t>8</a:t>
            </a:r>
          </a:p>
        </p:txBody>
      </p:sp>
      <p:sp>
        <p:nvSpPr>
          <p:cNvPr id="50" name="Title 1"/>
          <p:cNvSpPr txBox="1">
            <a:spLocks/>
          </p:cNvSpPr>
          <p:nvPr/>
        </p:nvSpPr>
        <p:spPr>
          <a:xfrm>
            <a:off x="303590" y="99620"/>
            <a:ext cx="10972800" cy="1325563"/>
          </a:xfrm>
          <a:prstGeom prst="rect">
            <a:avLst/>
          </a:prstGeom>
          <a:noFill/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defTabSz="914446"/>
            <a:r>
              <a:rPr lang="en-US" dirty="0">
                <a:solidFill>
                  <a:srgbClr val="1C498B"/>
                </a:solidFill>
                <a:latin typeface="Calibri" panose="020F0502020204030204"/>
                <a:ea typeface="Lato Medium"/>
                <a:cs typeface="Lato Medium"/>
              </a:rPr>
              <a:t>ILPQC 11th Annual Conference: </a:t>
            </a:r>
            <a:endParaRPr lang="en-US" dirty="0">
              <a:solidFill>
                <a:srgbClr val="1C498B"/>
              </a:solidFill>
              <a:latin typeface="Calibri" panose="020F0502020204030204"/>
            </a:endParaRPr>
          </a:p>
          <a:p>
            <a:pPr defTabSz="914446"/>
            <a:r>
              <a:rPr lang="en-US" dirty="0">
                <a:solidFill>
                  <a:srgbClr val="1C498B"/>
                </a:solidFill>
                <a:latin typeface="Calibri" panose="020F0502020204030204"/>
                <a:ea typeface="Lato Medium"/>
                <a:cs typeface="Lato Medium"/>
              </a:rPr>
              <a:t>Awards by the Numbers</a:t>
            </a:r>
            <a:endParaRPr lang="en-US" dirty="0">
              <a:solidFill>
                <a:srgbClr val="1C498B"/>
              </a:solidFill>
              <a:latin typeface="Calibri" panose="020F0502020204030204"/>
            </a:endParaRPr>
          </a:p>
        </p:txBody>
      </p:sp>
      <p:grpSp>
        <p:nvGrpSpPr>
          <p:cNvPr id="51" name="Group 21">
            <a:extLst>
              <a:ext uri="{FF2B5EF4-FFF2-40B4-BE49-F238E27FC236}">
                <a16:creationId xmlns:a16="http://schemas.microsoft.com/office/drawing/2014/main" id="{81DB118A-71C1-CE02-534F-46F11F451A72}"/>
              </a:ext>
            </a:extLst>
          </p:cNvPr>
          <p:cNvGrpSpPr/>
          <p:nvPr/>
        </p:nvGrpSpPr>
        <p:grpSpPr>
          <a:xfrm>
            <a:off x="9613721" y="4045373"/>
            <a:ext cx="1504519" cy="1619538"/>
            <a:chOff x="64369" y="7152"/>
            <a:chExt cx="748431" cy="805648"/>
          </a:xfrm>
        </p:grpSpPr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7AA724B0-26BB-3F6B-E61D-9A90FA8FEB9F}"/>
                </a:ext>
              </a:extLst>
            </p:cNvPr>
            <p:cNvSpPr/>
            <p:nvPr/>
          </p:nvSpPr>
          <p:spPr>
            <a:xfrm>
              <a:off x="64369" y="7152"/>
              <a:ext cx="748431" cy="805648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</p:spPr>
        </p:sp>
        <p:sp>
          <p:nvSpPr>
            <p:cNvPr id="53" name="TextBox 23">
              <a:extLst>
                <a:ext uri="{FF2B5EF4-FFF2-40B4-BE49-F238E27FC236}">
                  <a16:creationId xmlns:a16="http://schemas.microsoft.com/office/drawing/2014/main" id="{59D46B64-C5EC-4A63-C4C6-12FF2AE56C25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sp>
        <p:nvSpPr>
          <p:cNvPr id="54" name="TextBox 49">
            <a:extLst>
              <a:ext uri="{FF2B5EF4-FFF2-40B4-BE49-F238E27FC236}">
                <a16:creationId xmlns:a16="http://schemas.microsoft.com/office/drawing/2014/main" id="{17241A18-DF71-8C7D-7A85-39C92AFFBC48}"/>
              </a:ext>
            </a:extLst>
          </p:cNvPr>
          <p:cNvSpPr txBox="1"/>
          <p:nvPr/>
        </p:nvSpPr>
        <p:spPr>
          <a:xfrm>
            <a:off x="9736258" y="4325003"/>
            <a:ext cx="1230690" cy="100995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8588"/>
              </a:lnSpc>
            </a:pPr>
            <a:r>
              <a:rPr lang="en-US" sz="5400" dirty="0">
                <a:solidFill>
                  <a:srgbClr val="000000"/>
                </a:solidFill>
                <a:latin typeface="Canva Sans Bold"/>
              </a:rPr>
              <a:t>20</a:t>
            </a:r>
          </a:p>
        </p:txBody>
      </p:sp>
      <p:sp>
        <p:nvSpPr>
          <p:cNvPr id="61" name="TextBox 20">
            <a:extLst>
              <a:ext uri="{FF2B5EF4-FFF2-40B4-BE49-F238E27FC236}">
                <a16:creationId xmlns:a16="http://schemas.microsoft.com/office/drawing/2014/main" id="{27D6AE61-3C0B-E13F-CCB4-E5A793E50D6F}"/>
              </a:ext>
            </a:extLst>
          </p:cNvPr>
          <p:cNvSpPr txBox="1"/>
          <p:nvPr/>
        </p:nvSpPr>
        <p:spPr>
          <a:xfrm>
            <a:off x="9442431" y="3361241"/>
            <a:ext cx="1275711" cy="842971"/>
          </a:xfrm>
          <a:prstGeom prst="rect">
            <a:avLst/>
          </a:prstGeom>
        </p:spPr>
        <p:txBody>
          <a:bodyPr lIns="33867" tIns="33867" rIns="33867" bIns="33867" rtlCol="0" anchor="ctr"/>
          <a:lstStyle/>
          <a:p>
            <a:pPr algn="ctr" defTabSz="914446">
              <a:lnSpc>
                <a:spcPts val="2239"/>
              </a:lnSpc>
            </a:pPr>
            <a:endParaRPr sz="800">
              <a:solidFill>
                <a:srgbClr val="444C55"/>
              </a:solidFill>
              <a:latin typeface="Calibri" panose="020F0502020204030204"/>
            </a:endParaRPr>
          </a:p>
        </p:txBody>
      </p:sp>
      <p:sp>
        <p:nvSpPr>
          <p:cNvPr id="62" name="TextBox 42">
            <a:extLst>
              <a:ext uri="{FF2B5EF4-FFF2-40B4-BE49-F238E27FC236}">
                <a16:creationId xmlns:a16="http://schemas.microsoft.com/office/drawing/2014/main" id="{5FD8CF56-E49E-A97A-32FD-445A65DD4B79}"/>
              </a:ext>
            </a:extLst>
          </p:cNvPr>
          <p:cNvSpPr txBox="1"/>
          <p:nvPr/>
        </p:nvSpPr>
        <p:spPr>
          <a:xfrm>
            <a:off x="9257325" y="5796787"/>
            <a:ext cx="2352329" cy="69243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2799"/>
              </a:lnSpc>
            </a:pPr>
            <a:r>
              <a:rPr lang="en-US" sz="1950" dirty="0">
                <a:solidFill>
                  <a:srgbClr val="000000"/>
                </a:solidFill>
                <a:latin typeface="Barlow Semi-Bold"/>
                <a:ea typeface="+mn-lt"/>
                <a:cs typeface="+mn-lt"/>
              </a:rPr>
              <a:t>BE RC Breakfast Recognitions</a:t>
            </a:r>
            <a:endParaRPr lang="en-US" dirty="0"/>
          </a:p>
        </p:txBody>
      </p:sp>
      <p:sp>
        <p:nvSpPr>
          <p:cNvPr id="63" name="Freeform 33">
            <a:extLst>
              <a:ext uri="{FF2B5EF4-FFF2-40B4-BE49-F238E27FC236}">
                <a16:creationId xmlns:a16="http://schemas.microsoft.com/office/drawing/2014/main" id="{13E14076-241E-ECED-AC53-A301A43C4B8E}"/>
              </a:ext>
            </a:extLst>
          </p:cNvPr>
          <p:cNvSpPr/>
          <p:nvPr/>
        </p:nvSpPr>
        <p:spPr>
          <a:xfrm>
            <a:off x="10476666" y="4096803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>
                <a:moveTo>
                  <a:pt x="0" y="0"/>
                </a:moveTo>
                <a:lnTo>
                  <a:pt x="1729993" y="0"/>
                </a:lnTo>
                <a:lnTo>
                  <a:pt x="1729993" y="691998"/>
                </a:lnTo>
                <a:lnTo>
                  <a:pt x="0" y="691998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</p:sp>
      <p:grpSp>
        <p:nvGrpSpPr>
          <p:cNvPr id="64" name="Group 15">
            <a:extLst>
              <a:ext uri="{FF2B5EF4-FFF2-40B4-BE49-F238E27FC236}">
                <a16:creationId xmlns:a16="http://schemas.microsoft.com/office/drawing/2014/main" id="{6FE56032-2FF3-2EA4-B68B-9BA609D06B64}"/>
              </a:ext>
            </a:extLst>
          </p:cNvPr>
          <p:cNvGrpSpPr/>
          <p:nvPr/>
        </p:nvGrpSpPr>
        <p:grpSpPr>
          <a:xfrm>
            <a:off x="1049735" y="1975034"/>
            <a:ext cx="1633915" cy="1633915"/>
            <a:chOff x="0" y="0"/>
            <a:chExt cx="812800" cy="812800"/>
          </a:xfrm>
        </p:grpSpPr>
        <p:sp>
          <p:nvSpPr>
            <p:cNvPr id="65" name="Freeform 16">
              <a:extLst>
                <a:ext uri="{FF2B5EF4-FFF2-40B4-BE49-F238E27FC236}">
                  <a16:creationId xmlns:a16="http://schemas.microsoft.com/office/drawing/2014/main" id="{EDE9DC92-B9B7-A60B-516E-DAE672020021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</p:spPr>
        </p:sp>
        <p:sp>
          <p:nvSpPr>
            <p:cNvPr id="66" name="TextBox 17">
              <a:extLst>
                <a:ext uri="{FF2B5EF4-FFF2-40B4-BE49-F238E27FC236}">
                  <a16:creationId xmlns:a16="http://schemas.microsoft.com/office/drawing/2014/main" id="{6C71A1EC-D0DB-9F7B-6C1A-D9320DEEFBFD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sp>
        <p:nvSpPr>
          <p:cNvPr id="46" name="TextBox 46"/>
          <p:cNvSpPr txBox="1"/>
          <p:nvPr/>
        </p:nvSpPr>
        <p:spPr>
          <a:xfrm>
            <a:off x="1232086" y="2281994"/>
            <a:ext cx="1274135" cy="100995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8588"/>
              </a:lnSpc>
            </a:pPr>
            <a:r>
              <a:rPr lang="en-US" sz="5400" dirty="0">
                <a:solidFill>
                  <a:srgbClr val="000000"/>
                </a:solidFill>
                <a:latin typeface="Canva Sans Bold"/>
              </a:rPr>
              <a:t>116</a:t>
            </a:r>
          </a:p>
        </p:txBody>
      </p:sp>
      <p:pic>
        <p:nvPicPr>
          <p:cNvPr id="67" name="Graphic 66" descr="Fireworks outline">
            <a:extLst>
              <a:ext uri="{FF2B5EF4-FFF2-40B4-BE49-F238E27FC236}">
                <a16:creationId xmlns:a16="http://schemas.microsoft.com/office/drawing/2014/main" id="{E8D6D920-0A6B-AE80-602B-6803BF673CF8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336875" y="757687"/>
            <a:ext cx="914400" cy="914400"/>
          </a:xfrm>
          <a:prstGeom prst="rect">
            <a:avLst/>
          </a:prstGeom>
        </p:spPr>
      </p:pic>
      <p:pic>
        <p:nvPicPr>
          <p:cNvPr id="68" name="Graphic 67" descr="Fireworks outline">
            <a:extLst>
              <a:ext uri="{FF2B5EF4-FFF2-40B4-BE49-F238E27FC236}">
                <a16:creationId xmlns:a16="http://schemas.microsoft.com/office/drawing/2014/main" id="{05012934-C322-AE48-E9A5-23CAD3B0B7B7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89781" y="5487838"/>
            <a:ext cx="914400" cy="914400"/>
          </a:xfrm>
          <a:prstGeom prst="rect">
            <a:avLst/>
          </a:prstGeom>
        </p:spPr>
      </p:pic>
      <p:pic>
        <p:nvPicPr>
          <p:cNvPr id="69" name="Graphic 68" descr="Fireworks outline">
            <a:extLst>
              <a:ext uri="{FF2B5EF4-FFF2-40B4-BE49-F238E27FC236}">
                <a16:creationId xmlns:a16="http://schemas.microsoft.com/office/drawing/2014/main" id="{1F537137-A967-C4DF-81BB-9B8E2EAEA4EF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090913" y="578976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5290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/>
          <p:nvPr/>
        </p:nvGrpSpPr>
        <p:grpSpPr>
          <a:xfrm>
            <a:off x="827318" y="2349789"/>
            <a:ext cx="1358175" cy="1358175"/>
            <a:chOff x="0" y="0"/>
            <a:chExt cx="812800" cy="81280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114005" y="0"/>
                  </a:moveTo>
                  <a:lnTo>
                    <a:pt x="698795" y="0"/>
                  </a:lnTo>
                  <a:cubicBezTo>
                    <a:pt x="761758" y="0"/>
                    <a:pt x="812800" y="51042"/>
                    <a:pt x="812800" y="114005"/>
                  </a:cubicBezTo>
                  <a:lnTo>
                    <a:pt x="812800" y="698795"/>
                  </a:lnTo>
                  <a:cubicBezTo>
                    <a:pt x="812800" y="761758"/>
                    <a:pt x="761758" y="812800"/>
                    <a:pt x="698795" y="812800"/>
                  </a:cubicBezTo>
                  <a:lnTo>
                    <a:pt x="114005" y="812800"/>
                  </a:lnTo>
                  <a:cubicBezTo>
                    <a:pt x="51042" y="812800"/>
                    <a:pt x="0" y="761758"/>
                    <a:pt x="0" y="698795"/>
                  </a:cubicBezTo>
                  <a:lnTo>
                    <a:pt x="0" y="114005"/>
                  </a:lnTo>
                  <a:cubicBezTo>
                    <a:pt x="0" y="51042"/>
                    <a:pt x="51042" y="0"/>
                    <a:pt x="114005" y="0"/>
                  </a:cubicBezTo>
                  <a:close/>
                </a:path>
              </a:pathLst>
            </a:custGeom>
            <a:solidFill>
              <a:srgbClr val="B8CDDB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114300"/>
              <a:ext cx="8128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5150"/>
                </a:lnSpc>
              </a:pPr>
              <a:endParaRPr sz="800"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3849890" y="2378543"/>
            <a:ext cx="1358175" cy="1358175"/>
            <a:chOff x="0" y="0"/>
            <a:chExt cx="812800" cy="812800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114005" y="0"/>
                  </a:moveTo>
                  <a:lnTo>
                    <a:pt x="698795" y="0"/>
                  </a:lnTo>
                  <a:cubicBezTo>
                    <a:pt x="761758" y="0"/>
                    <a:pt x="812800" y="51042"/>
                    <a:pt x="812800" y="114005"/>
                  </a:cubicBezTo>
                  <a:lnTo>
                    <a:pt x="812800" y="698795"/>
                  </a:lnTo>
                  <a:cubicBezTo>
                    <a:pt x="812800" y="761758"/>
                    <a:pt x="761758" y="812800"/>
                    <a:pt x="698795" y="812800"/>
                  </a:cubicBezTo>
                  <a:lnTo>
                    <a:pt x="114005" y="812800"/>
                  </a:lnTo>
                  <a:cubicBezTo>
                    <a:pt x="51042" y="812800"/>
                    <a:pt x="0" y="761758"/>
                    <a:pt x="0" y="698795"/>
                  </a:cubicBezTo>
                  <a:lnTo>
                    <a:pt x="0" y="114005"/>
                  </a:lnTo>
                  <a:cubicBezTo>
                    <a:pt x="0" y="51042"/>
                    <a:pt x="51042" y="0"/>
                    <a:pt x="114005" y="0"/>
                  </a:cubicBezTo>
                  <a:close/>
                </a:path>
              </a:pathLst>
            </a:custGeom>
            <a:solidFill>
              <a:srgbClr val="F7BB97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114300"/>
              <a:ext cx="8128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5150"/>
                </a:lnSpc>
              </a:pPr>
              <a:endParaRPr sz="800"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7059150" y="2378543"/>
            <a:ext cx="1358175" cy="1358175"/>
            <a:chOff x="0" y="0"/>
            <a:chExt cx="812800" cy="812800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114005" y="0"/>
                  </a:moveTo>
                  <a:lnTo>
                    <a:pt x="698795" y="0"/>
                  </a:lnTo>
                  <a:cubicBezTo>
                    <a:pt x="761758" y="0"/>
                    <a:pt x="812800" y="51042"/>
                    <a:pt x="812800" y="114005"/>
                  </a:cubicBezTo>
                  <a:lnTo>
                    <a:pt x="812800" y="698795"/>
                  </a:lnTo>
                  <a:cubicBezTo>
                    <a:pt x="812800" y="761758"/>
                    <a:pt x="761758" y="812800"/>
                    <a:pt x="698795" y="812800"/>
                  </a:cubicBezTo>
                  <a:lnTo>
                    <a:pt x="114005" y="812800"/>
                  </a:lnTo>
                  <a:cubicBezTo>
                    <a:pt x="51042" y="812800"/>
                    <a:pt x="0" y="761758"/>
                    <a:pt x="0" y="698795"/>
                  </a:cubicBezTo>
                  <a:lnTo>
                    <a:pt x="0" y="114005"/>
                  </a:lnTo>
                  <a:cubicBezTo>
                    <a:pt x="0" y="51042"/>
                    <a:pt x="51042" y="0"/>
                    <a:pt x="114005" y="0"/>
                  </a:cubicBezTo>
                  <a:close/>
                </a:path>
              </a:pathLst>
            </a:custGeom>
            <a:solidFill>
              <a:srgbClr val="FFD2CC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114300"/>
              <a:ext cx="8128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5150"/>
                </a:lnSpc>
              </a:pPr>
              <a:endParaRPr sz="800"/>
            </a:p>
          </p:txBody>
        </p:sp>
      </p:grpSp>
      <p:sp>
        <p:nvSpPr>
          <p:cNvPr id="12" name="Freeform 12"/>
          <p:cNvSpPr/>
          <p:nvPr/>
        </p:nvSpPr>
        <p:spPr>
          <a:xfrm>
            <a:off x="7062110" y="2395880"/>
            <a:ext cx="1294747" cy="1294747"/>
          </a:xfrm>
          <a:custGeom>
            <a:avLst/>
            <a:gdLst/>
            <a:ahLst/>
            <a:cxnLst/>
            <a:rect l="l" t="t" r="r" b="b"/>
            <a:pathLst>
              <a:path w="1942121" h="1942121">
                <a:moveTo>
                  <a:pt x="0" y="0"/>
                </a:moveTo>
                <a:lnTo>
                  <a:pt x="1942121" y="0"/>
                </a:lnTo>
                <a:lnTo>
                  <a:pt x="1942121" y="1942121"/>
                </a:lnTo>
                <a:lnTo>
                  <a:pt x="0" y="1942121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13" name="Freeform 13"/>
          <p:cNvSpPr/>
          <p:nvPr/>
        </p:nvSpPr>
        <p:spPr>
          <a:xfrm>
            <a:off x="4172112" y="2398839"/>
            <a:ext cx="713729" cy="1294747"/>
          </a:xfrm>
          <a:custGeom>
            <a:avLst/>
            <a:gdLst/>
            <a:ahLst/>
            <a:cxnLst/>
            <a:rect l="l" t="t" r="r" b="b"/>
            <a:pathLst>
              <a:path w="1070594" h="1942121">
                <a:moveTo>
                  <a:pt x="0" y="0"/>
                </a:moveTo>
                <a:lnTo>
                  <a:pt x="1070594" y="0"/>
                </a:lnTo>
                <a:lnTo>
                  <a:pt x="1070594" y="1942121"/>
                </a:lnTo>
                <a:lnTo>
                  <a:pt x="0" y="1942121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14" name="Freeform 14"/>
          <p:cNvSpPr/>
          <p:nvPr/>
        </p:nvSpPr>
        <p:spPr>
          <a:xfrm>
            <a:off x="906833" y="2394449"/>
            <a:ext cx="1199145" cy="1169166"/>
          </a:xfrm>
          <a:custGeom>
            <a:avLst/>
            <a:gdLst/>
            <a:ahLst/>
            <a:cxnLst/>
            <a:rect l="l" t="t" r="r" b="b"/>
            <a:pathLst>
              <a:path w="1798717" h="1753749">
                <a:moveTo>
                  <a:pt x="0" y="0"/>
                </a:moveTo>
                <a:lnTo>
                  <a:pt x="1798717" y="0"/>
                </a:lnTo>
                <a:lnTo>
                  <a:pt x="1798717" y="1753749"/>
                </a:lnTo>
                <a:lnTo>
                  <a:pt x="0" y="1753749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16" name="TextBox 16"/>
          <p:cNvSpPr txBox="1"/>
          <p:nvPr/>
        </p:nvSpPr>
        <p:spPr>
          <a:xfrm>
            <a:off x="302416" y="4065588"/>
            <a:ext cx="2551753" cy="204799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36"/>
              </a:lnSpc>
              <a:spcBef>
                <a:spcPct val="0"/>
              </a:spcBef>
            </a:pPr>
            <a:r>
              <a:rPr lang="en-US" sz="2000" spc="57">
                <a:solidFill>
                  <a:srgbClr val="000000"/>
                </a:solidFill>
                <a:latin typeface="Montserrat Medium"/>
              </a:rPr>
              <a:t>Achieve initiative aims and move to active sustainability: Promoting Vaginal Birth &amp; Birth Equity</a:t>
            </a:r>
            <a:endParaRPr lang="en-US" sz="2000"/>
          </a:p>
          <a:p>
            <a:pPr algn="ctr">
              <a:lnSpc>
                <a:spcPts val="2736"/>
              </a:lnSpc>
              <a:spcBef>
                <a:spcPct val="0"/>
              </a:spcBef>
            </a:pPr>
            <a:endParaRPr lang="en-US" spc="57">
              <a:solidFill>
                <a:srgbClr val="000000"/>
              </a:solidFill>
              <a:latin typeface="Montserrat Medium"/>
            </a:endParaRPr>
          </a:p>
        </p:txBody>
      </p:sp>
      <p:sp>
        <p:nvSpPr>
          <p:cNvPr id="17" name="TextBox 17"/>
          <p:cNvSpPr txBox="1"/>
          <p:nvPr/>
        </p:nvSpPr>
        <p:spPr>
          <a:xfrm>
            <a:off x="3340395" y="4065588"/>
            <a:ext cx="2578228" cy="159979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36"/>
              </a:lnSpc>
              <a:spcBef>
                <a:spcPct val="0"/>
              </a:spcBef>
            </a:pPr>
            <a:r>
              <a:rPr lang="en-US" sz="2000" spc="57">
                <a:solidFill>
                  <a:srgbClr val="000000"/>
                </a:solidFill>
                <a:latin typeface="Montserrat Medium"/>
              </a:rPr>
              <a:t>Launch new neonatal statewide initiative, Equity and Safe Sleep in Infants (ESSI)</a:t>
            </a:r>
          </a:p>
          <a:p>
            <a:pPr algn="ctr">
              <a:lnSpc>
                <a:spcPts val="1621"/>
              </a:lnSpc>
              <a:spcBef>
                <a:spcPct val="0"/>
              </a:spcBef>
            </a:pPr>
            <a:endParaRPr lang="en-US" sz="1800" spc="57">
              <a:solidFill>
                <a:srgbClr val="000000"/>
              </a:solidFill>
              <a:latin typeface="Montserrat Medium"/>
            </a:endParaRPr>
          </a:p>
        </p:txBody>
      </p:sp>
      <p:sp>
        <p:nvSpPr>
          <p:cNvPr id="18" name="TextBox 18"/>
          <p:cNvSpPr txBox="1"/>
          <p:nvPr/>
        </p:nvSpPr>
        <p:spPr>
          <a:xfrm>
            <a:off x="6449123" y="4094343"/>
            <a:ext cx="2578228" cy="135934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36"/>
              </a:lnSpc>
              <a:spcBef>
                <a:spcPct val="0"/>
              </a:spcBef>
            </a:pPr>
            <a:r>
              <a:rPr lang="en-US" sz="2000" spc="57">
                <a:solidFill>
                  <a:srgbClr val="000000"/>
                </a:solidFill>
                <a:latin typeface="Montserrat Medium"/>
              </a:rPr>
              <a:t>Engage outpatient care sites to disseminate key equity strategies and resources</a:t>
            </a:r>
          </a:p>
        </p:txBody>
      </p:sp>
      <p:sp>
        <p:nvSpPr>
          <p:cNvPr id="20" name="Freeform 10">
            <a:extLst>
              <a:ext uri="{FF2B5EF4-FFF2-40B4-BE49-F238E27FC236}">
                <a16:creationId xmlns:a16="http://schemas.microsoft.com/office/drawing/2014/main" id="{3D6FE4E2-BE3D-C8B0-9006-F234D4E281E8}"/>
              </a:ext>
            </a:extLst>
          </p:cNvPr>
          <p:cNvSpPr/>
          <p:nvPr/>
        </p:nvSpPr>
        <p:spPr>
          <a:xfrm>
            <a:off x="9763050" y="2401018"/>
            <a:ext cx="1358175" cy="1358175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114005" y="0"/>
                </a:moveTo>
                <a:lnTo>
                  <a:pt x="698795" y="0"/>
                </a:lnTo>
                <a:cubicBezTo>
                  <a:pt x="761758" y="0"/>
                  <a:pt x="812800" y="51042"/>
                  <a:pt x="812800" y="114005"/>
                </a:cubicBezTo>
                <a:lnTo>
                  <a:pt x="812800" y="698795"/>
                </a:lnTo>
                <a:cubicBezTo>
                  <a:pt x="812800" y="761758"/>
                  <a:pt x="761758" y="812800"/>
                  <a:pt x="698795" y="812800"/>
                </a:cubicBezTo>
                <a:lnTo>
                  <a:pt x="114005" y="812800"/>
                </a:lnTo>
                <a:cubicBezTo>
                  <a:pt x="51042" y="812800"/>
                  <a:pt x="0" y="761758"/>
                  <a:pt x="0" y="698795"/>
                </a:cubicBezTo>
                <a:lnTo>
                  <a:pt x="0" y="114005"/>
                </a:lnTo>
                <a:cubicBezTo>
                  <a:pt x="0" y="51042"/>
                  <a:pt x="51042" y="0"/>
                  <a:pt x="114005" y="0"/>
                </a:cubicBezTo>
                <a:close/>
              </a:path>
            </a:pathLst>
          </a:custGeom>
          <a:solidFill>
            <a:srgbClr val="F1DAF7"/>
          </a:solidFill>
        </p:spPr>
      </p:sp>
      <p:pic>
        <p:nvPicPr>
          <p:cNvPr id="21" name="Graphic 20" descr="Dance outline">
            <a:extLst>
              <a:ext uri="{FF2B5EF4-FFF2-40B4-BE49-F238E27FC236}">
                <a16:creationId xmlns:a16="http://schemas.microsoft.com/office/drawing/2014/main" id="{2DDCDACA-0E95-547E-6112-7508EAD64956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833014" y="2384770"/>
            <a:ext cx="1288211" cy="1316965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E8B63612-93A2-0837-5E47-5DF6CE21B021}"/>
              </a:ext>
            </a:extLst>
          </p:cNvPr>
          <p:cNvSpPr txBox="1"/>
          <p:nvPr/>
        </p:nvSpPr>
        <p:spPr>
          <a:xfrm>
            <a:off x="9280917" y="4077578"/>
            <a:ext cx="2570671" cy="193899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>
                <a:latin typeface="Montserrat Medium"/>
              </a:rPr>
              <a:t>Engage community, patient  </a:t>
            </a:r>
            <a:r>
              <a:rPr lang="en-US" sz="2000" spc="57">
                <a:solidFill>
                  <a:srgbClr val="000000"/>
                </a:solidFill>
                <a:latin typeface="Montserrat Medium"/>
              </a:rPr>
              <a:t>and</a:t>
            </a:r>
            <a:r>
              <a:rPr lang="en-US" sz="2000">
                <a:latin typeface="Montserrat Medium"/>
              </a:rPr>
              <a:t> parent </a:t>
            </a:r>
            <a:endParaRPr lang="en-US" sz="2000">
              <a:latin typeface="Calibri"/>
              <a:cs typeface="Calibri"/>
            </a:endParaRPr>
          </a:p>
          <a:p>
            <a:pPr algn="ctr"/>
            <a:r>
              <a:rPr lang="en-US" sz="2000">
                <a:latin typeface="Montserrat Medium"/>
              </a:rPr>
              <a:t>partners with hospital teams to equitably improve outcomes in QI work</a:t>
            </a:r>
            <a:r>
              <a:rPr lang="en-US">
                <a:latin typeface="Montserrat Medium"/>
              </a:rPr>
              <a:t> </a:t>
            </a:r>
            <a:endParaRPr lang="en-US">
              <a:cs typeface="Calibri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C59A5B1-055C-CAF7-BAA2-7400B36F0FF5}"/>
              </a:ext>
            </a:extLst>
          </p:cNvPr>
          <p:cNvSpPr txBox="1"/>
          <p:nvPr/>
        </p:nvSpPr>
        <p:spPr>
          <a:xfrm>
            <a:off x="1403452" y="556293"/>
            <a:ext cx="9249063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6000" b="1" dirty="0">
                <a:solidFill>
                  <a:schemeClr val="tx2"/>
                </a:solidFill>
                <a:cs typeface="Calibri"/>
              </a:rPr>
              <a:t>ILPQC GOALS FOR 2024</a:t>
            </a:r>
            <a:endParaRPr lang="en-US" sz="6000" dirty="0">
              <a:solidFill>
                <a:schemeClr val="tx2"/>
              </a:solidFill>
              <a:cs typeface="Calibri"/>
            </a:endParaRPr>
          </a:p>
          <a:p>
            <a:pPr algn="ctr"/>
            <a:r>
              <a:rPr lang="en-US" sz="2400" i="1" dirty="0">
                <a:cs typeface="Calibri"/>
              </a:rPr>
              <a:t>Building the infrastructure to sustain equity in quality improvement work</a:t>
            </a:r>
          </a:p>
        </p:txBody>
      </p:sp>
    </p:spTree>
    <p:extLst>
      <p:ext uri="{BB962C8B-B14F-4D97-AF65-F5344CB8AC3E}">
        <p14:creationId xmlns:p14="http://schemas.microsoft.com/office/powerpoint/2010/main" val="16019197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24F7782-24BD-BF1A-6F8F-F1285FEFFC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US" sz="3600" b="1">
                <a:solidFill>
                  <a:srgbClr val="1C498B"/>
                </a:solidFill>
                <a:ea typeface="Lato"/>
                <a:cs typeface="Calibri"/>
              </a:rPr>
              <a:t>PVB Aims and Measures</a:t>
            </a:r>
            <a:endParaRPr lang="en-US" sz="3600" b="1">
              <a:solidFill>
                <a:srgbClr val="1C498B"/>
              </a:solidFill>
              <a:cs typeface="Calibri"/>
            </a:endParaRPr>
          </a:p>
        </p:txBody>
      </p:sp>
      <p:grpSp>
        <p:nvGrpSpPr>
          <p:cNvPr id="6" name="Group 2">
            <a:extLst>
              <a:ext uri="{FF2B5EF4-FFF2-40B4-BE49-F238E27FC236}">
                <a16:creationId xmlns:a16="http://schemas.microsoft.com/office/drawing/2014/main" id="{E9A46170-E097-E01D-92E5-B0F7C918275D}"/>
              </a:ext>
            </a:extLst>
          </p:cNvPr>
          <p:cNvGrpSpPr/>
          <p:nvPr/>
        </p:nvGrpSpPr>
        <p:grpSpPr>
          <a:xfrm>
            <a:off x="3139230" y="948859"/>
            <a:ext cx="1663233" cy="1663233"/>
            <a:chOff x="0" y="0"/>
            <a:chExt cx="1913890" cy="1913890"/>
          </a:xfrm>
        </p:grpSpPr>
        <p:sp>
          <p:nvSpPr>
            <p:cNvPr id="5" name="Freeform 3">
              <a:extLst>
                <a:ext uri="{FF2B5EF4-FFF2-40B4-BE49-F238E27FC236}">
                  <a16:creationId xmlns:a16="http://schemas.microsoft.com/office/drawing/2014/main" id="{B608D418-E240-05E9-5D7A-4134247C6668}"/>
                </a:ext>
              </a:extLst>
            </p:cNvPr>
            <p:cNvSpPr/>
            <p:nvPr/>
          </p:nvSpPr>
          <p:spPr>
            <a:xfrm>
              <a:off x="0" y="0"/>
              <a:ext cx="1913890" cy="1913890"/>
            </a:xfrm>
            <a:custGeom>
              <a:avLst/>
              <a:gdLst/>
              <a:ahLst/>
              <a:cxnLst/>
              <a:rect l="l" t="t" r="r" b="b"/>
              <a:pathLst>
                <a:path w="1913890" h="1913890">
                  <a:moveTo>
                    <a:pt x="0" y="0"/>
                  </a:moveTo>
                  <a:lnTo>
                    <a:pt x="0" y="1913890"/>
                  </a:lnTo>
                  <a:lnTo>
                    <a:pt x="1913890" y="1913890"/>
                  </a:lnTo>
                  <a:lnTo>
                    <a:pt x="1913890" y="0"/>
                  </a:lnTo>
                  <a:lnTo>
                    <a:pt x="0" y="0"/>
                  </a:lnTo>
                  <a:close/>
                  <a:moveTo>
                    <a:pt x="1852930" y="1852930"/>
                  </a:moveTo>
                  <a:lnTo>
                    <a:pt x="59690" y="1852930"/>
                  </a:lnTo>
                  <a:lnTo>
                    <a:pt x="59690" y="59690"/>
                  </a:lnTo>
                  <a:lnTo>
                    <a:pt x="1852930" y="59690"/>
                  </a:lnTo>
                  <a:lnTo>
                    <a:pt x="1852930" y="1852930"/>
                  </a:lnTo>
                  <a:close/>
                </a:path>
              </a:pathLst>
            </a:custGeom>
            <a:solidFill>
              <a:srgbClr val="132572"/>
            </a:solidFill>
          </p:spPr>
        </p:sp>
      </p:grpSp>
      <p:sp>
        <p:nvSpPr>
          <p:cNvPr id="8" name="Freeform 8">
            <a:extLst>
              <a:ext uri="{FF2B5EF4-FFF2-40B4-BE49-F238E27FC236}">
                <a16:creationId xmlns:a16="http://schemas.microsoft.com/office/drawing/2014/main" id="{1AE3561E-1E6F-E3A0-CD5F-B013DCF553C0}"/>
              </a:ext>
            </a:extLst>
          </p:cNvPr>
          <p:cNvSpPr/>
          <p:nvPr/>
        </p:nvSpPr>
        <p:spPr>
          <a:xfrm>
            <a:off x="3329917" y="1286605"/>
            <a:ext cx="1234997" cy="1176615"/>
          </a:xfrm>
          <a:custGeom>
            <a:avLst/>
            <a:gdLst/>
            <a:ahLst/>
            <a:cxnLst/>
            <a:rect l="l" t="t" r="r" b="b"/>
            <a:pathLst>
              <a:path w="1852496" h="1764923">
                <a:moveTo>
                  <a:pt x="0" y="0"/>
                </a:moveTo>
                <a:lnTo>
                  <a:pt x="1852495" y="0"/>
                </a:lnTo>
                <a:lnTo>
                  <a:pt x="1852495" y="1764924"/>
                </a:lnTo>
                <a:lnTo>
                  <a:pt x="0" y="1764924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1E65DB6-8F8F-4C88-5AB0-CB41D28E0FE7}"/>
              </a:ext>
            </a:extLst>
          </p:cNvPr>
          <p:cNvGrpSpPr/>
          <p:nvPr/>
        </p:nvGrpSpPr>
        <p:grpSpPr>
          <a:xfrm>
            <a:off x="4999227" y="622335"/>
            <a:ext cx="6851017" cy="2202061"/>
            <a:chOff x="0" y="-57150"/>
            <a:chExt cx="1877692" cy="869950"/>
          </a:xfrm>
        </p:grpSpPr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FDD42824-9A9F-C841-5C6D-0091498F524B}"/>
                </a:ext>
              </a:extLst>
            </p:cNvPr>
            <p:cNvSpPr/>
            <p:nvPr/>
          </p:nvSpPr>
          <p:spPr>
            <a:xfrm>
              <a:off x="0" y="0"/>
              <a:ext cx="1877692" cy="812800"/>
            </a:xfrm>
            <a:custGeom>
              <a:avLst/>
              <a:gdLst/>
              <a:ahLst/>
              <a:cxnLst/>
              <a:rect l="l" t="t" r="r" b="b"/>
              <a:pathLst>
                <a:path w="1877692" h="812800">
                  <a:moveTo>
                    <a:pt x="55382" y="0"/>
                  </a:moveTo>
                  <a:lnTo>
                    <a:pt x="1822310" y="0"/>
                  </a:lnTo>
                  <a:cubicBezTo>
                    <a:pt x="1852897" y="0"/>
                    <a:pt x="1877692" y="24795"/>
                    <a:pt x="1877692" y="55382"/>
                  </a:cubicBezTo>
                  <a:lnTo>
                    <a:pt x="1877692" y="757418"/>
                  </a:lnTo>
                  <a:cubicBezTo>
                    <a:pt x="1877692" y="772106"/>
                    <a:pt x="1871857" y="786193"/>
                    <a:pt x="1861471" y="796579"/>
                  </a:cubicBezTo>
                  <a:cubicBezTo>
                    <a:pt x="1851085" y="806965"/>
                    <a:pt x="1836998" y="812800"/>
                    <a:pt x="1822310" y="812800"/>
                  </a:cubicBezTo>
                  <a:lnTo>
                    <a:pt x="55382" y="812800"/>
                  </a:lnTo>
                  <a:cubicBezTo>
                    <a:pt x="24795" y="812800"/>
                    <a:pt x="0" y="788005"/>
                    <a:pt x="0" y="757418"/>
                  </a:cubicBezTo>
                  <a:lnTo>
                    <a:pt x="0" y="55382"/>
                  </a:lnTo>
                  <a:cubicBezTo>
                    <a:pt x="0" y="24795"/>
                    <a:pt x="24795" y="0"/>
                    <a:pt x="55382" y="0"/>
                  </a:cubicBezTo>
                  <a:close/>
                </a:path>
              </a:pathLst>
            </a:custGeom>
            <a:solidFill>
              <a:srgbClr val="FDE17F">
                <a:alpha val="40000"/>
              </a:srgbClr>
            </a:solidFill>
          </p:spPr>
        </p:sp>
        <p:sp>
          <p:nvSpPr>
            <p:cNvPr id="11" name="TextBox 13">
              <a:extLst>
                <a:ext uri="{FF2B5EF4-FFF2-40B4-BE49-F238E27FC236}">
                  <a16:creationId xmlns:a16="http://schemas.microsoft.com/office/drawing/2014/main" id="{E5A8093A-3EEE-4B79-1159-DB170FFAC09B}"/>
                </a:ext>
              </a:extLst>
            </p:cNvPr>
            <p:cNvSpPr txBox="1"/>
            <p:nvPr/>
          </p:nvSpPr>
          <p:spPr>
            <a:xfrm>
              <a:off x="0" y="-57150"/>
              <a:ext cx="812800" cy="8699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sp>
        <p:nvSpPr>
          <p:cNvPr id="14" name="TextBox 17">
            <a:extLst>
              <a:ext uri="{FF2B5EF4-FFF2-40B4-BE49-F238E27FC236}">
                <a16:creationId xmlns:a16="http://schemas.microsoft.com/office/drawing/2014/main" id="{E1D55E7F-098F-A89F-FA80-9A8C4284B873}"/>
              </a:ext>
            </a:extLst>
          </p:cNvPr>
          <p:cNvSpPr txBox="1"/>
          <p:nvPr/>
        </p:nvSpPr>
        <p:spPr>
          <a:xfrm>
            <a:off x="5357164" y="1145447"/>
            <a:ext cx="6139851" cy="139454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3734"/>
              </a:lnSpc>
            </a:pPr>
            <a:r>
              <a:rPr lang="en-US" sz="2650" u="sng">
                <a:solidFill>
                  <a:srgbClr val="000000"/>
                </a:solidFill>
                <a:latin typeface="Agrandir Narrow"/>
              </a:rPr>
              <a:t>&gt;</a:t>
            </a:r>
            <a:r>
              <a:rPr lang="en-US" sz="2650">
                <a:solidFill>
                  <a:srgbClr val="000000"/>
                </a:solidFill>
                <a:latin typeface="Agrandir Narrow"/>
              </a:rPr>
              <a:t>70% of Hospitals will be at or below the Health People 2023 Goal of 23.6% NTSV C-section Rate</a:t>
            </a:r>
            <a:endParaRPr lang="en-US" sz="2650">
              <a:solidFill>
                <a:srgbClr val="444C55"/>
              </a:solidFill>
              <a:latin typeface="Calibri" panose="020F0502020204030204"/>
            </a:endParaRPr>
          </a:p>
        </p:txBody>
      </p:sp>
      <p:grpSp>
        <p:nvGrpSpPr>
          <p:cNvPr id="17" name="Group 4">
            <a:extLst>
              <a:ext uri="{FF2B5EF4-FFF2-40B4-BE49-F238E27FC236}">
                <a16:creationId xmlns:a16="http://schemas.microsoft.com/office/drawing/2014/main" id="{F9378E17-6322-6A14-F207-AF86455B45D8}"/>
              </a:ext>
            </a:extLst>
          </p:cNvPr>
          <p:cNvGrpSpPr/>
          <p:nvPr/>
        </p:nvGrpSpPr>
        <p:grpSpPr>
          <a:xfrm>
            <a:off x="3289230" y="4060046"/>
            <a:ext cx="1207795" cy="1207795"/>
            <a:chOff x="0" y="0"/>
            <a:chExt cx="1913890" cy="1913890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28667A89-EB9D-9656-C1B4-A66008629215}"/>
                </a:ext>
              </a:extLst>
            </p:cNvPr>
            <p:cNvSpPr/>
            <p:nvPr/>
          </p:nvSpPr>
          <p:spPr>
            <a:xfrm>
              <a:off x="0" y="0"/>
              <a:ext cx="1913890" cy="1913890"/>
            </a:xfrm>
            <a:custGeom>
              <a:avLst/>
              <a:gdLst/>
              <a:ahLst/>
              <a:cxnLst/>
              <a:rect l="l" t="t" r="r" b="b"/>
              <a:pathLst>
                <a:path w="1913890" h="1913890">
                  <a:moveTo>
                    <a:pt x="0" y="0"/>
                  </a:moveTo>
                  <a:lnTo>
                    <a:pt x="0" y="1913890"/>
                  </a:lnTo>
                  <a:lnTo>
                    <a:pt x="1913890" y="1913890"/>
                  </a:lnTo>
                  <a:lnTo>
                    <a:pt x="1913890" y="0"/>
                  </a:lnTo>
                  <a:lnTo>
                    <a:pt x="0" y="0"/>
                  </a:lnTo>
                  <a:close/>
                  <a:moveTo>
                    <a:pt x="1852930" y="1852930"/>
                  </a:moveTo>
                  <a:lnTo>
                    <a:pt x="59690" y="1852930"/>
                  </a:lnTo>
                  <a:lnTo>
                    <a:pt x="59690" y="59690"/>
                  </a:lnTo>
                  <a:lnTo>
                    <a:pt x="1852930" y="59690"/>
                  </a:lnTo>
                  <a:lnTo>
                    <a:pt x="1852930" y="1852930"/>
                  </a:lnTo>
                  <a:close/>
                </a:path>
              </a:pathLst>
            </a:custGeom>
            <a:solidFill>
              <a:srgbClr val="132572"/>
            </a:solidFill>
          </p:spPr>
        </p:sp>
      </p:grpSp>
      <p:grpSp>
        <p:nvGrpSpPr>
          <p:cNvPr id="20" name="Group 6">
            <a:extLst>
              <a:ext uri="{FF2B5EF4-FFF2-40B4-BE49-F238E27FC236}">
                <a16:creationId xmlns:a16="http://schemas.microsoft.com/office/drawing/2014/main" id="{2222A735-9083-C872-7FAC-180D5DF83706}"/>
              </a:ext>
            </a:extLst>
          </p:cNvPr>
          <p:cNvGrpSpPr/>
          <p:nvPr/>
        </p:nvGrpSpPr>
        <p:grpSpPr>
          <a:xfrm>
            <a:off x="7712144" y="4057580"/>
            <a:ext cx="1207795" cy="1207795"/>
            <a:chOff x="0" y="0"/>
            <a:chExt cx="1913890" cy="1913890"/>
          </a:xfrm>
        </p:grpSpPr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1AFB4827-CF57-D4BB-109A-B6C0F20D6AA8}"/>
                </a:ext>
              </a:extLst>
            </p:cNvPr>
            <p:cNvSpPr/>
            <p:nvPr/>
          </p:nvSpPr>
          <p:spPr>
            <a:xfrm>
              <a:off x="0" y="0"/>
              <a:ext cx="1913890" cy="1913890"/>
            </a:xfrm>
            <a:custGeom>
              <a:avLst/>
              <a:gdLst/>
              <a:ahLst/>
              <a:cxnLst/>
              <a:rect l="l" t="t" r="r" b="b"/>
              <a:pathLst>
                <a:path w="1913890" h="1913890">
                  <a:moveTo>
                    <a:pt x="0" y="0"/>
                  </a:moveTo>
                  <a:lnTo>
                    <a:pt x="0" y="1913890"/>
                  </a:lnTo>
                  <a:lnTo>
                    <a:pt x="1913890" y="1913890"/>
                  </a:lnTo>
                  <a:lnTo>
                    <a:pt x="1913890" y="0"/>
                  </a:lnTo>
                  <a:lnTo>
                    <a:pt x="0" y="0"/>
                  </a:lnTo>
                  <a:close/>
                  <a:moveTo>
                    <a:pt x="1852930" y="1852930"/>
                  </a:moveTo>
                  <a:lnTo>
                    <a:pt x="59690" y="1852930"/>
                  </a:lnTo>
                  <a:lnTo>
                    <a:pt x="59690" y="59690"/>
                  </a:lnTo>
                  <a:lnTo>
                    <a:pt x="1852930" y="59690"/>
                  </a:lnTo>
                  <a:lnTo>
                    <a:pt x="1852930" y="1852930"/>
                  </a:lnTo>
                  <a:close/>
                </a:path>
              </a:pathLst>
            </a:custGeom>
            <a:solidFill>
              <a:srgbClr val="132572"/>
            </a:solidFill>
          </p:spPr>
        </p:sp>
      </p:grpSp>
      <p:sp>
        <p:nvSpPr>
          <p:cNvPr id="22" name="Freeform 9">
            <a:extLst>
              <a:ext uri="{FF2B5EF4-FFF2-40B4-BE49-F238E27FC236}">
                <a16:creationId xmlns:a16="http://schemas.microsoft.com/office/drawing/2014/main" id="{2923DB60-A72F-C5BF-D955-A3572B2B6B47}"/>
              </a:ext>
            </a:extLst>
          </p:cNvPr>
          <p:cNvSpPr/>
          <p:nvPr/>
        </p:nvSpPr>
        <p:spPr>
          <a:xfrm>
            <a:off x="3452830" y="4254360"/>
            <a:ext cx="880592" cy="880592"/>
          </a:xfrm>
          <a:custGeom>
            <a:avLst/>
            <a:gdLst/>
            <a:ahLst/>
            <a:cxnLst/>
            <a:rect l="l" t="t" r="r" b="b"/>
            <a:pathLst>
              <a:path w="1320888" h="1320888">
                <a:moveTo>
                  <a:pt x="0" y="0"/>
                </a:moveTo>
                <a:lnTo>
                  <a:pt x="1320888" y="0"/>
                </a:lnTo>
                <a:lnTo>
                  <a:pt x="1320888" y="1320889"/>
                </a:lnTo>
                <a:lnTo>
                  <a:pt x="0" y="1320889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24" name="Freeform 10">
            <a:extLst>
              <a:ext uri="{FF2B5EF4-FFF2-40B4-BE49-F238E27FC236}">
                <a16:creationId xmlns:a16="http://schemas.microsoft.com/office/drawing/2014/main" id="{8A8B6E06-376E-3207-174C-36360842E5E7}"/>
              </a:ext>
            </a:extLst>
          </p:cNvPr>
          <p:cNvSpPr/>
          <p:nvPr/>
        </p:nvSpPr>
        <p:spPr>
          <a:xfrm>
            <a:off x="7855811" y="4255158"/>
            <a:ext cx="920460" cy="770885"/>
          </a:xfrm>
          <a:custGeom>
            <a:avLst/>
            <a:gdLst/>
            <a:ahLst/>
            <a:cxnLst/>
            <a:rect l="l" t="t" r="r" b="b"/>
            <a:pathLst>
              <a:path w="1380690" h="1156328">
                <a:moveTo>
                  <a:pt x="0" y="0"/>
                </a:moveTo>
                <a:lnTo>
                  <a:pt x="1380690" y="0"/>
                </a:lnTo>
                <a:lnTo>
                  <a:pt x="1380690" y="1156328"/>
                </a:lnTo>
                <a:lnTo>
                  <a:pt x="0" y="1156328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</p:sp>
      <p:grpSp>
        <p:nvGrpSpPr>
          <p:cNvPr id="28" name="Group 14">
            <a:extLst>
              <a:ext uri="{FF2B5EF4-FFF2-40B4-BE49-F238E27FC236}">
                <a16:creationId xmlns:a16="http://schemas.microsoft.com/office/drawing/2014/main" id="{BB6BB1CB-16CC-EDAE-4DD2-0CCD3E4CF189}"/>
              </a:ext>
            </a:extLst>
          </p:cNvPr>
          <p:cNvGrpSpPr/>
          <p:nvPr/>
        </p:nvGrpSpPr>
        <p:grpSpPr>
          <a:xfrm>
            <a:off x="4620805" y="3346979"/>
            <a:ext cx="2902936" cy="2964060"/>
            <a:chOff x="0" y="-57150"/>
            <a:chExt cx="1361276" cy="869950"/>
          </a:xfrm>
        </p:grpSpPr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9962AB74-A206-B7CE-0CE5-133121F4DC8F}"/>
                </a:ext>
              </a:extLst>
            </p:cNvPr>
            <p:cNvSpPr/>
            <p:nvPr/>
          </p:nvSpPr>
          <p:spPr>
            <a:xfrm>
              <a:off x="0" y="0"/>
              <a:ext cx="1361276" cy="655970"/>
            </a:xfrm>
            <a:custGeom>
              <a:avLst/>
              <a:gdLst/>
              <a:ahLst/>
              <a:cxnLst/>
              <a:rect l="l" t="t" r="r" b="b"/>
              <a:pathLst>
                <a:path w="1361276" h="655970">
                  <a:moveTo>
                    <a:pt x="76392" y="0"/>
                  </a:moveTo>
                  <a:lnTo>
                    <a:pt x="1284884" y="0"/>
                  </a:lnTo>
                  <a:cubicBezTo>
                    <a:pt x="1327074" y="0"/>
                    <a:pt x="1361276" y="34202"/>
                    <a:pt x="1361276" y="76392"/>
                  </a:cubicBezTo>
                  <a:lnTo>
                    <a:pt x="1361276" y="579578"/>
                  </a:lnTo>
                  <a:cubicBezTo>
                    <a:pt x="1361276" y="599838"/>
                    <a:pt x="1353227" y="619269"/>
                    <a:pt x="1338901" y="633595"/>
                  </a:cubicBezTo>
                  <a:cubicBezTo>
                    <a:pt x="1324575" y="647921"/>
                    <a:pt x="1305144" y="655970"/>
                    <a:pt x="1284884" y="655970"/>
                  </a:cubicBezTo>
                  <a:lnTo>
                    <a:pt x="76392" y="655970"/>
                  </a:lnTo>
                  <a:cubicBezTo>
                    <a:pt x="56131" y="655970"/>
                    <a:pt x="36701" y="647921"/>
                    <a:pt x="22375" y="633595"/>
                  </a:cubicBezTo>
                  <a:cubicBezTo>
                    <a:pt x="8048" y="619269"/>
                    <a:pt x="0" y="599838"/>
                    <a:pt x="0" y="579578"/>
                  </a:cubicBezTo>
                  <a:lnTo>
                    <a:pt x="0" y="76392"/>
                  </a:lnTo>
                  <a:cubicBezTo>
                    <a:pt x="0" y="56131"/>
                    <a:pt x="8048" y="36701"/>
                    <a:pt x="22375" y="22375"/>
                  </a:cubicBezTo>
                  <a:cubicBezTo>
                    <a:pt x="36701" y="8048"/>
                    <a:pt x="56131" y="0"/>
                    <a:pt x="76392" y="0"/>
                  </a:cubicBezTo>
                  <a:close/>
                </a:path>
              </a:pathLst>
            </a:custGeom>
            <a:solidFill>
              <a:srgbClr val="819FEB">
                <a:alpha val="49804"/>
              </a:srgbClr>
            </a:solidFill>
          </p:spPr>
        </p:sp>
        <p:sp>
          <p:nvSpPr>
            <p:cNvPr id="27" name="TextBox 16">
              <a:extLst>
                <a:ext uri="{FF2B5EF4-FFF2-40B4-BE49-F238E27FC236}">
                  <a16:creationId xmlns:a16="http://schemas.microsoft.com/office/drawing/2014/main" id="{73979A58-94B9-EEAF-D517-259AE0B30D99}"/>
                </a:ext>
              </a:extLst>
            </p:cNvPr>
            <p:cNvSpPr txBox="1"/>
            <p:nvPr/>
          </p:nvSpPr>
          <p:spPr>
            <a:xfrm>
              <a:off x="0" y="-57150"/>
              <a:ext cx="812800" cy="8699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sp>
        <p:nvSpPr>
          <p:cNvPr id="30" name="TextBox 18">
            <a:extLst>
              <a:ext uri="{FF2B5EF4-FFF2-40B4-BE49-F238E27FC236}">
                <a16:creationId xmlns:a16="http://schemas.microsoft.com/office/drawing/2014/main" id="{A1F99CAA-6313-4B1A-A5FC-19F0C122CFC7}"/>
              </a:ext>
            </a:extLst>
          </p:cNvPr>
          <p:cNvSpPr txBox="1"/>
          <p:nvPr/>
        </p:nvSpPr>
        <p:spPr>
          <a:xfrm>
            <a:off x="4701365" y="3760348"/>
            <a:ext cx="2640019" cy="186903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3734"/>
              </a:lnSpc>
            </a:pPr>
            <a:r>
              <a:rPr lang="en-US" sz="2650" u="sng">
                <a:solidFill>
                  <a:srgbClr val="000000"/>
                </a:solidFill>
                <a:latin typeface="Agrandir Narrow"/>
              </a:rPr>
              <a:t>&gt;</a:t>
            </a:r>
            <a:r>
              <a:rPr lang="en-US" sz="2650">
                <a:solidFill>
                  <a:srgbClr val="000000"/>
                </a:solidFill>
                <a:latin typeface="Agrandir Narrow"/>
              </a:rPr>
              <a:t>70% of NTSV C-sections meet ACOG/SMFM Criteria</a:t>
            </a:r>
          </a:p>
        </p:txBody>
      </p:sp>
      <p:sp>
        <p:nvSpPr>
          <p:cNvPr id="32" name="TextBox 22">
            <a:extLst>
              <a:ext uri="{FF2B5EF4-FFF2-40B4-BE49-F238E27FC236}">
                <a16:creationId xmlns:a16="http://schemas.microsoft.com/office/drawing/2014/main" id="{6460B53A-A68F-F54B-203C-C80A81DBDCBE}"/>
              </a:ext>
            </a:extLst>
          </p:cNvPr>
          <p:cNvSpPr txBox="1"/>
          <p:nvPr/>
        </p:nvSpPr>
        <p:spPr>
          <a:xfrm>
            <a:off x="9184790" y="3761571"/>
            <a:ext cx="2624170" cy="18696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3734"/>
              </a:lnSpc>
            </a:pPr>
            <a:r>
              <a:rPr lang="en-US" sz="2666" u="sng">
                <a:solidFill>
                  <a:srgbClr val="000000"/>
                </a:solidFill>
                <a:latin typeface="Agrandir Narrow"/>
              </a:rPr>
              <a:t>&gt;</a:t>
            </a:r>
            <a:r>
              <a:rPr lang="en-US" sz="2666">
                <a:solidFill>
                  <a:srgbClr val="000000"/>
                </a:solidFill>
                <a:latin typeface="Agrandir Narrow"/>
              </a:rPr>
              <a:t>80% of physicians, midwives and nurses educated</a:t>
            </a:r>
          </a:p>
        </p:txBody>
      </p:sp>
      <p:grpSp>
        <p:nvGrpSpPr>
          <p:cNvPr id="36" name="Group 19">
            <a:extLst>
              <a:ext uri="{FF2B5EF4-FFF2-40B4-BE49-F238E27FC236}">
                <a16:creationId xmlns:a16="http://schemas.microsoft.com/office/drawing/2014/main" id="{22E07871-6C34-15D0-2FFD-4483B3AEBF94}"/>
              </a:ext>
            </a:extLst>
          </p:cNvPr>
          <p:cNvGrpSpPr/>
          <p:nvPr/>
        </p:nvGrpSpPr>
        <p:grpSpPr>
          <a:xfrm>
            <a:off x="9046669" y="3342207"/>
            <a:ext cx="2902935" cy="2964060"/>
            <a:chOff x="0" y="-57150"/>
            <a:chExt cx="1361276" cy="869950"/>
          </a:xfrm>
        </p:grpSpPr>
        <p:sp>
          <p:nvSpPr>
            <p:cNvPr id="34" name="Freeform 20">
              <a:extLst>
                <a:ext uri="{FF2B5EF4-FFF2-40B4-BE49-F238E27FC236}">
                  <a16:creationId xmlns:a16="http://schemas.microsoft.com/office/drawing/2014/main" id="{950D1215-6396-B480-2523-B6D9F382F57E}"/>
                </a:ext>
              </a:extLst>
            </p:cNvPr>
            <p:cNvSpPr/>
            <p:nvPr/>
          </p:nvSpPr>
          <p:spPr>
            <a:xfrm>
              <a:off x="0" y="0"/>
              <a:ext cx="1361276" cy="655970"/>
            </a:xfrm>
            <a:custGeom>
              <a:avLst/>
              <a:gdLst/>
              <a:ahLst/>
              <a:cxnLst/>
              <a:rect l="l" t="t" r="r" b="b"/>
              <a:pathLst>
                <a:path w="1361276" h="655970">
                  <a:moveTo>
                    <a:pt x="76392" y="0"/>
                  </a:moveTo>
                  <a:lnTo>
                    <a:pt x="1284884" y="0"/>
                  </a:lnTo>
                  <a:cubicBezTo>
                    <a:pt x="1327074" y="0"/>
                    <a:pt x="1361276" y="34202"/>
                    <a:pt x="1361276" y="76392"/>
                  </a:cubicBezTo>
                  <a:lnTo>
                    <a:pt x="1361276" y="579578"/>
                  </a:lnTo>
                  <a:cubicBezTo>
                    <a:pt x="1361276" y="599838"/>
                    <a:pt x="1353227" y="619269"/>
                    <a:pt x="1338901" y="633595"/>
                  </a:cubicBezTo>
                  <a:cubicBezTo>
                    <a:pt x="1324575" y="647921"/>
                    <a:pt x="1305144" y="655970"/>
                    <a:pt x="1284884" y="655970"/>
                  </a:cubicBezTo>
                  <a:lnTo>
                    <a:pt x="76392" y="655970"/>
                  </a:lnTo>
                  <a:cubicBezTo>
                    <a:pt x="56131" y="655970"/>
                    <a:pt x="36701" y="647921"/>
                    <a:pt x="22375" y="633595"/>
                  </a:cubicBezTo>
                  <a:cubicBezTo>
                    <a:pt x="8048" y="619269"/>
                    <a:pt x="0" y="599838"/>
                    <a:pt x="0" y="579578"/>
                  </a:cubicBezTo>
                  <a:lnTo>
                    <a:pt x="0" y="76392"/>
                  </a:lnTo>
                  <a:cubicBezTo>
                    <a:pt x="0" y="56131"/>
                    <a:pt x="8048" y="36701"/>
                    <a:pt x="22375" y="22375"/>
                  </a:cubicBezTo>
                  <a:cubicBezTo>
                    <a:pt x="36701" y="8048"/>
                    <a:pt x="56131" y="0"/>
                    <a:pt x="76392" y="0"/>
                  </a:cubicBezTo>
                  <a:close/>
                </a:path>
              </a:pathLst>
            </a:custGeom>
            <a:solidFill>
              <a:srgbClr val="E432BD">
                <a:alpha val="28627"/>
              </a:srgbClr>
            </a:solidFill>
          </p:spPr>
        </p:sp>
        <p:sp>
          <p:nvSpPr>
            <p:cNvPr id="35" name="TextBox 21">
              <a:extLst>
                <a:ext uri="{FF2B5EF4-FFF2-40B4-BE49-F238E27FC236}">
                  <a16:creationId xmlns:a16="http://schemas.microsoft.com/office/drawing/2014/main" id="{2C141276-A79F-0100-E534-C8A47B578EFD}"/>
                </a:ext>
              </a:extLst>
            </p:cNvPr>
            <p:cNvSpPr txBox="1"/>
            <p:nvPr/>
          </p:nvSpPr>
          <p:spPr>
            <a:xfrm>
              <a:off x="0" y="-57150"/>
              <a:ext cx="812800" cy="8699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72861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2C1CFF-77FA-DE7A-469B-5FB97B4DB8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NTSV C-Section Rat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6F0B68-F4FF-94B8-EA8A-3BC15AB109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547DAE-1558-274E-640C-BE72CF8E4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7" name="Google Shape;3942;p421">
            <a:extLst>
              <a:ext uri="{FF2B5EF4-FFF2-40B4-BE49-F238E27FC236}">
                <a16:creationId xmlns:a16="http://schemas.microsoft.com/office/drawing/2014/main" id="{C3778DE6-1134-A9E4-5070-22D40061AE4C}"/>
              </a:ext>
            </a:extLst>
          </p:cNvPr>
          <p:cNvSpPr/>
          <p:nvPr/>
        </p:nvSpPr>
        <p:spPr>
          <a:xfrm>
            <a:off x="1138835" y="1927698"/>
            <a:ext cx="4419032" cy="3082701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46"/>
            <a:r>
              <a:rPr lang="en-US" sz="2400">
                <a:solidFill>
                  <a:srgbClr val="1C498B"/>
                </a:solidFill>
                <a:latin typeface="Calibri"/>
                <a:ea typeface="Calibri"/>
                <a:cs typeface="Calibri"/>
                <a:sym typeface="Calibri"/>
              </a:rPr>
              <a:t>At Baseline </a:t>
            </a:r>
            <a:endParaRPr lang="en-US" sz="1800">
              <a:solidFill>
                <a:srgbClr val="1C498B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ctr" defTabSz="914446"/>
            <a:r>
              <a:rPr lang="en-US" sz="8000" b="1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38</a:t>
            </a:r>
            <a:r>
              <a:rPr lang="en-US" sz="5400" b="1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%</a:t>
            </a:r>
            <a:endParaRPr lang="en-US" sz="5400" b="1">
              <a:solidFill>
                <a:schemeClr val="accent5"/>
              </a:solidFill>
              <a:latin typeface="Calibri"/>
              <a:ea typeface="Calibri"/>
              <a:cs typeface="Calibri"/>
            </a:endParaRPr>
          </a:p>
          <a:p>
            <a:pPr algn="ctr" defTabSz="914446"/>
            <a:r>
              <a:rPr lang="en-US" sz="2400">
                <a:solidFill>
                  <a:srgbClr val="1C498B"/>
                </a:solidFill>
                <a:latin typeface="Calibri"/>
                <a:ea typeface="Calibri"/>
                <a:cs typeface="Calibri"/>
              </a:rPr>
              <a:t>Of ILPQC hospitals had a NTSV C-Section Rate of </a:t>
            </a:r>
            <a:r>
              <a:rPr lang="en-US" sz="2400" u="sng">
                <a:solidFill>
                  <a:srgbClr val="1C498B"/>
                </a:solidFill>
                <a:latin typeface="Calibri"/>
                <a:ea typeface="Calibri"/>
                <a:cs typeface="Calibri"/>
              </a:rPr>
              <a:t>&lt;</a:t>
            </a:r>
            <a:r>
              <a:rPr lang="en-US" sz="2400">
                <a:solidFill>
                  <a:srgbClr val="1C498B"/>
                </a:solidFill>
                <a:latin typeface="Calibri"/>
                <a:ea typeface="Calibri"/>
                <a:cs typeface="Calibri"/>
              </a:rPr>
              <a:t>23.6%</a:t>
            </a:r>
            <a:endParaRPr lang="en-US"/>
          </a:p>
        </p:txBody>
      </p:sp>
      <p:sp>
        <p:nvSpPr>
          <p:cNvPr id="8" name="Google Shape;3942;p421">
            <a:extLst>
              <a:ext uri="{FF2B5EF4-FFF2-40B4-BE49-F238E27FC236}">
                <a16:creationId xmlns:a16="http://schemas.microsoft.com/office/drawing/2014/main" id="{E68BBED9-6A5D-7206-7F7A-2148A81394E1}"/>
              </a:ext>
            </a:extLst>
          </p:cNvPr>
          <p:cNvSpPr/>
          <p:nvPr/>
        </p:nvSpPr>
        <p:spPr>
          <a:xfrm>
            <a:off x="6564210" y="1880045"/>
            <a:ext cx="4371947" cy="308740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46"/>
            <a:r>
              <a:rPr lang="en-US" sz="2400">
                <a:solidFill>
                  <a:srgbClr val="1C498B"/>
                </a:solidFill>
                <a:latin typeface="Calibri"/>
                <a:ea typeface="Calibri"/>
                <a:cs typeface="Calibri"/>
                <a:sym typeface="Calibri"/>
              </a:rPr>
              <a:t>In 2023 </a:t>
            </a:r>
            <a:endParaRPr lang="en-US" sz="1800">
              <a:solidFill>
                <a:srgbClr val="1C498B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algn="ctr" defTabSz="914446"/>
            <a:r>
              <a:rPr lang="en-US" sz="8000" b="1">
                <a:solidFill>
                  <a:schemeClr val="accent5"/>
                </a:solidFill>
                <a:latin typeface="Calibri"/>
                <a:ea typeface="Calibri"/>
                <a:cs typeface="Calibri"/>
                <a:sym typeface="Calibri"/>
              </a:rPr>
              <a:t>77%</a:t>
            </a:r>
            <a:endParaRPr lang="en-US" sz="8000" b="1">
              <a:solidFill>
                <a:schemeClr val="accent5"/>
              </a:solidFill>
              <a:latin typeface="Calibri"/>
              <a:ea typeface="Calibri"/>
              <a:cs typeface="Calibri"/>
            </a:endParaRPr>
          </a:p>
          <a:p>
            <a:pPr algn="ctr" defTabSz="914446"/>
            <a:r>
              <a:rPr lang="en-US" sz="2400">
                <a:solidFill>
                  <a:srgbClr val="1C498B"/>
                </a:solidFill>
                <a:latin typeface="Calibri"/>
                <a:ea typeface="Calibri"/>
                <a:cs typeface="Calibri"/>
              </a:rPr>
              <a:t>Of ILPQC hospitals have achieved an NTSV C-Section rate of </a:t>
            </a:r>
            <a:r>
              <a:rPr lang="en-US" sz="2400" u="sng">
                <a:solidFill>
                  <a:srgbClr val="1C498B"/>
                </a:solidFill>
                <a:latin typeface="Calibri"/>
                <a:ea typeface="Calibri"/>
                <a:cs typeface="Calibri"/>
              </a:rPr>
              <a:t>&lt;</a:t>
            </a:r>
            <a:r>
              <a:rPr lang="en-US" sz="2400">
                <a:solidFill>
                  <a:srgbClr val="1C498B"/>
                </a:solidFill>
                <a:latin typeface="Calibri"/>
                <a:ea typeface="Calibri"/>
                <a:cs typeface="Calibri"/>
              </a:rPr>
              <a:t>23.6% for at least 1 quarter </a:t>
            </a:r>
            <a:endParaRPr lang="en-US" sz="2400">
              <a:solidFill>
                <a:srgbClr val="1C498B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878293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9">
      <a:dk1>
        <a:sysClr val="windowText" lastClr="000000"/>
      </a:dk1>
      <a:lt1>
        <a:sysClr val="window" lastClr="FFFFFF"/>
      </a:lt1>
      <a:dk2>
        <a:srgbClr val="494341"/>
      </a:dk2>
      <a:lt2>
        <a:srgbClr val="E7E6E6"/>
      </a:lt2>
      <a:accent1>
        <a:srgbClr val="85CEC0"/>
      </a:accent1>
      <a:accent2>
        <a:srgbClr val="F5822A"/>
      </a:accent2>
      <a:accent3>
        <a:srgbClr val="6E6E5B"/>
      </a:accent3>
      <a:accent4>
        <a:srgbClr val="759E5F"/>
      </a:accent4>
      <a:accent5>
        <a:srgbClr val="925071"/>
      </a:accent5>
      <a:accent6>
        <a:srgbClr val="D3D321"/>
      </a:accent6>
      <a:hlink>
        <a:srgbClr val="436F9B"/>
      </a:hlink>
      <a:folHlink>
        <a:srgbClr val="CC434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NorthShore Official Theme">
  <a:themeElements>
    <a:clrScheme name="NorthShore_march 2019">
      <a:dk1>
        <a:srgbClr val="434443"/>
      </a:dk1>
      <a:lt1>
        <a:srgbClr val="FFFFFF"/>
      </a:lt1>
      <a:dk2>
        <a:srgbClr val="005CB9"/>
      </a:dk2>
      <a:lt2>
        <a:srgbClr val="BBBBBB"/>
      </a:lt2>
      <a:accent1>
        <a:srgbClr val="00A8E1"/>
      </a:accent1>
      <a:accent2>
        <a:srgbClr val="CEDD00"/>
      </a:accent2>
      <a:accent3>
        <a:srgbClr val="5D5D5D"/>
      </a:accent3>
      <a:accent4>
        <a:srgbClr val="005CBA"/>
      </a:accent4>
      <a:accent5>
        <a:srgbClr val="02713A"/>
      </a:accent5>
      <a:accent6>
        <a:srgbClr val="21CED7"/>
      </a:accent6>
      <a:hlink>
        <a:srgbClr val="005CB9"/>
      </a:hlink>
      <a:folHlink>
        <a:srgbClr val="005CB9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/>
      <a:bodyPr wrap="square" lIns="121869" tIns="60933" rIns="121869" bIns="60933" rtlCol="0" anchor="t">
        <a:noAutofit/>
      </a:bodyPr>
      <a:lstStyle>
        <a:defPPr marL="0" indent="0" algn="l">
          <a:spcBef>
            <a:spcPts val="0"/>
          </a:spcBef>
          <a:defRPr sz="1400" dirty="0" err="1" smtClean="0">
            <a:cs typeface="Calibri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rthShore Official Theme" id="{DD72CD88-7A45-4635-8C5A-2217FD798D2E}" vid="{E763282B-BFAE-47E4-9E67-697B82501F15}"/>
    </a:ext>
  </a:extLst>
</a:theme>
</file>

<file path=ppt/theme/theme5.xml><?xml version="1.0" encoding="utf-8"?>
<a:theme xmlns:a="http://schemas.openxmlformats.org/drawingml/2006/main" name="Vision">
  <a:themeElements>
    <a:clrScheme name="Northshore">
      <a:dk1>
        <a:srgbClr val="434443"/>
      </a:dk1>
      <a:lt1>
        <a:srgbClr val="FFFFFF"/>
      </a:lt1>
      <a:dk2>
        <a:srgbClr val="005CB9"/>
      </a:dk2>
      <a:lt2>
        <a:srgbClr val="D1D3D3"/>
      </a:lt2>
      <a:accent1>
        <a:srgbClr val="00A8E1"/>
      </a:accent1>
      <a:accent2>
        <a:srgbClr val="005CB9"/>
      </a:accent2>
      <a:accent3>
        <a:srgbClr val="27CED7"/>
      </a:accent3>
      <a:accent4>
        <a:srgbClr val="CFDE00"/>
      </a:accent4>
      <a:accent5>
        <a:srgbClr val="00723B"/>
      </a:accent5>
      <a:accent6>
        <a:srgbClr val="62A39F"/>
      </a:accent6>
      <a:hlink>
        <a:srgbClr val="00A8E1"/>
      </a:hlink>
      <a:folHlink>
        <a:srgbClr val="E16C0C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/>
      <a:bodyPr wrap="square" lIns="121869" tIns="60933" rIns="121869" bIns="60933" rtlCol="0" anchor="t">
        <a:noAutofit/>
      </a:bodyPr>
      <a:lstStyle>
        <a:defPPr marL="0" indent="0" algn="l">
          <a:spcBef>
            <a:spcPts val="0"/>
          </a:spcBef>
          <a:defRPr sz="1400" dirty="0" err="1" smtClean="0">
            <a:cs typeface="Calibri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6_Vision">
  <a:themeElements>
    <a:clrScheme name="NorthShore_march 2019">
      <a:dk1>
        <a:srgbClr val="434443"/>
      </a:dk1>
      <a:lt1>
        <a:srgbClr val="FFFFFF"/>
      </a:lt1>
      <a:dk2>
        <a:srgbClr val="005CB9"/>
      </a:dk2>
      <a:lt2>
        <a:srgbClr val="BBBBBB"/>
      </a:lt2>
      <a:accent1>
        <a:srgbClr val="00A8E1"/>
      </a:accent1>
      <a:accent2>
        <a:srgbClr val="CEDD00"/>
      </a:accent2>
      <a:accent3>
        <a:srgbClr val="5D5D5D"/>
      </a:accent3>
      <a:accent4>
        <a:srgbClr val="005CBA"/>
      </a:accent4>
      <a:accent5>
        <a:srgbClr val="02713A"/>
      </a:accent5>
      <a:accent6>
        <a:srgbClr val="21CED7"/>
      </a:accent6>
      <a:hlink>
        <a:srgbClr val="005CB9"/>
      </a:hlink>
      <a:folHlink>
        <a:srgbClr val="005CB9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/>
      <a:bodyPr wrap="square" lIns="121869" tIns="60933" rIns="121869" bIns="60933" rtlCol="0" anchor="t">
        <a:noAutofit/>
      </a:bodyPr>
      <a:lstStyle>
        <a:defPPr marL="0" indent="0" algn="l">
          <a:spcBef>
            <a:spcPts val="0"/>
          </a:spcBef>
          <a:defRPr sz="1400" dirty="0" err="1" smtClean="0">
            <a:cs typeface="Calibri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6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ontentPassPackage>
  <PackageId>Template-00001-PPT</PackageId>
</ContentPassPackage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CA3B746-EC70-43DE-AE9A-0E77D83B4A1D}">
  <ds:schemaRefs/>
</ds:datastoreItem>
</file>

<file path=customXml/itemProps2.xml><?xml version="1.0" encoding="utf-8"?>
<ds:datastoreItem xmlns:ds="http://schemas.openxmlformats.org/officeDocument/2006/customXml" ds:itemID="{1ABE5134-0D66-4A53-B348-2D1C52A0FBFD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572</TotalTime>
  <Words>2119</Words>
  <Application>Microsoft Office PowerPoint</Application>
  <PresentationFormat>Widescreen</PresentationFormat>
  <Paragraphs>361</Paragraphs>
  <Slides>31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22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63" baseType="lpstr">
      <vt:lpstr>メイリオ</vt:lpstr>
      <vt:lpstr>MS Mincho</vt:lpstr>
      <vt:lpstr>Agrandir Narrow</vt:lpstr>
      <vt:lpstr>Arial</vt:lpstr>
      <vt:lpstr>Arial Black</vt:lpstr>
      <vt:lpstr>Barlow Bold</vt:lpstr>
      <vt:lpstr>Barlow Medium</vt:lpstr>
      <vt:lpstr>Barlow Semi-Bold</vt:lpstr>
      <vt:lpstr>Barlow SemiCondensed</vt:lpstr>
      <vt:lpstr>Calibri</vt:lpstr>
      <vt:lpstr>Canva Sans Bold</vt:lpstr>
      <vt:lpstr>Century Gothic</vt:lpstr>
      <vt:lpstr>Helvetica Neue Medium</vt:lpstr>
      <vt:lpstr>Hit and Run</vt:lpstr>
      <vt:lpstr>Lato</vt:lpstr>
      <vt:lpstr>Lato Medium</vt:lpstr>
      <vt:lpstr>Montserrat Medium</vt:lpstr>
      <vt:lpstr>Neue Einstellung Bold</vt:lpstr>
      <vt:lpstr>Times New Roman</vt:lpstr>
      <vt:lpstr>Verdana</vt:lpstr>
      <vt:lpstr>Wingdings</vt:lpstr>
      <vt:lpstr>ヒラギノ角ゴ Pro W3</vt:lpstr>
      <vt:lpstr>1_Office Theme</vt:lpstr>
      <vt:lpstr>2_Office Theme</vt:lpstr>
      <vt:lpstr>4_Office Theme</vt:lpstr>
      <vt:lpstr>NorthShore Official Theme</vt:lpstr>
      <vt:lpstr>Vision</vt:lpstr>
      <vt:lpstr>6_Vision</vt:lpstr>
      <vt:lpstr>3_Office Theme</vt:lpstr>
      <vt:lpstr>5_Office Theme</vt:lpstr>
      <vt:lpstr>6_Office Theme</vt:lpstr>
      <vt:lpstr>think-cell Slide</vt:lpstr>
      <vt:lpstr>PVB Monthly Webinar:  Preparing for 2024</vt:lpstr>
      <vt:lpstr>Overview</vt:lpstr>
      <vt:lpstr>ILPQC 11th Annual Conference Agenda </vt:lpstr>
      <vt:lpstr>2023 Attendee Resource Folder</vt:lpstr>
      <vt:lpstr>PowerPoint Presentation</vt:lpstr>
      <vt:lpstr>PowerPoint Presentation</vt:lpstr>
      <vt:lpstr>PowerPoint Presentation</vt:lpstr>
      <vt:lpstr>PowerPoint Presentation</vt:lpstr>
      <vt:lpstr>NTSV C-Section Rate</vt:lpstr>
      <vt:lpstr>Celebrating our PVB Success</vt:lpstr>
      <vt:lpstr>NTSV C-Section Rates  for all ILPQC Hospitals</vt:lpstr>
      <vt:lpstr>NTSV C-Sections Meeting  ACOG/SMFM Criteria</vt:lpstr>
      <vt:lpstr>Provider and Nurse Education</vt:lpstr>
      <vt:lpstr>Reducing Disparities in NTSV C-Section Rates </vt:lpstr>
      <vt:lpstr>PVB Key Strategies:  Putting it all together</vt:lpstr>
      <vt:lpstr>PVB Successes </vt:lpstr>
      <vt:lpstr>Most Utilized PVB Strategies </vt:lpstr>
      <vt:lpstr>Most Effective PVB Strategies </vt:lpstr>
      <vt:lpstr>Improving % of  NTSV C-sections meeting ACOG/SMFM Criteria</vt:lpstr>
      <vt:lpstr>Crossing the Finish Line with PVB in 2024</vt:lpstr>
      <vt:lpstr>Components of PVB Sustainability </vt:lpstr>
      <vt:lpstr>Sustainability Plan</vt:lpstr>
      <vt:lpstr>PVB Reduced Data Entry in 2024</vt:lpstr>
      <vt:lpstr>PVB Teams moving to sustainability in 2024</vt:lpstr>
      <vt:lpstr>PVB Teams participating in Coaching Groups in 2024 </vt:lpstr>
      <vt:lpstr>PVB teams continuing to work towards NTSV C-section goals in 2024</vt:lpstr>
      <vt:lpstr>Apply now to be a PVB Coach! If your team has achieved PVB goals, please apply</vt:lpstr>
      <vt:lpstr>Team Sharing</vt:lpstr>
      <vt:lpstr>Upcoming PVB Calls</vt:lpstr>
      <vt:lpstr>PowerPoint Presentation</vt:lpstr>
      <vt:lpstr>Thanks to our Funders</vt:lpstr>
    </vt:vector>
  </TitlesOfParts>
  <Company>NorthSho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ana Rivera</dc:creator>
  <cp:lastModifiedBy>Ann</cp:lastModifiedBy>
  <cp:revision>352</cp:revision>
  <dcterms:created xsi:type="dcterms:W3CDTF">2022-05-27T17:37:53Z</dcterms:created>
  <dcterms:modified xsi:type="dcterms:W3CDTF">2023-11-27T16:43:09Z</dcterms:modified>
</cp:coreProperties>
</file>